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7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72" r:id="rId5"/>
    <p:sldMasterId id="2147483660" r:id="rId6"/>
    <p:sldMasterId id="2147483710" r:id="rId7"/>
    <p:sldMasterId id="2147483718" r:id="rId8"/>
    <p:sldMasterId id="2147483726" r:id="rId9"/>
    <p:sldMasterId id="2147483737" r:id="rId10"/>
    <p:sldMasterId id="2147483744" r:id="rId11"/>
    <p:sldMasterId id="2147483753" r:id="rId12"/>
  </p:sldMasterIdLst>
  <p:notesMasterIdLst>
    <p:notesMasterId r:id="rId80"/>
  </p:notesMasterIdLst>
  <p:handoutMasterIdLst>
    <p:handoutMasterId r:id="rId81"/>
  </p:handoutMasterIdLst>
  <p:sldIdLst>
    <p:sldId id="258" r:id="rId13"/>
    <p:sldId id="5648" r:id="rId14"/>
    <p:sldId id="5649" r:id="rId15"/>
    <p:sldId id="2624" r:id="rId16"/>
    <p:sldId id="5650" r:id="rId17"/>
    <p:sldId id="2487" r:id="rId18"/>
    <p:sldId id="2553" r:id="rId19"/>
    <p:sldId id="2552" r:id="rId20"/>
    <p:sldId id="5646" r:id="rId21"/>
    <p:sldId id="5606" r:id="rId22"/>
    <p:sldId id="2458" r:id="rId23"/>
    <p:sldId id="5674" r:id="rId24"/>
    <p:sldId id="5657" r:id="rId25"/>
    <p:sldId id="2460" r:id="rId26"/>
    <p:sldId id="5652" r:id="rId27"/>
    <p:sldId id="5154" r:id="rId28"/>
    <p:sldId id="5653" r:id="rId29"/>
    <p:sldId id="2483" r:id="rId30"/>
    <p:sldId id="2466" r:id="rId31"/>
    <p:sldId id="5654" r:id="rId32"/>
    <p:sldId id="2461" r:id="rId33"/>
    <p:sldId id="5659" r:id="rId34"/>
    <p:sldId id="5616" r:id="rId35"/>
    <p:sldId id="5281" r:id="rId36"/>
    <p:sldId id="5282" r:id="rId37"/>
    <p:sldId id="5280" r:id="rId38"/>
    <p:sldId id="5617" r:id="rId39"/>
    <p:sldId id="5618" r:id="rId40"/>
    <p:sldId id="5658" r:id="rId41"/>
    <p:sldId id="5619" r:id="rId42"/>
    <p:sldId id="5667" r:id="rId43"/>
    <p:sldId id="5623" r:id="rId44"/>
    <p:sldId id="5662" r:id="rId45"/>
    <p:sldId id="5628" r:id="rId46"/>
    <p:sldId id="5663" r:id="rId47"/>
    <p:sldId id="5626" r:id="rId48"/>
    <p:sldId id="5629" r:id="rId49"/>
    <p:sldId id="5664" r:id="rId50"/>
    <p:sldId id="5622" r:id="rId51"/>
    <p:sldId id="5665" r:id="rId52"/>
    <p:sldId id="5668" r:id="rId53"/>
    <p:sldId id="5632" r:id="rId54"/>
    <p:sldId id="5633" r:id="rId55"/>
    <p:sldId id="5634" r:id="rId56"/>
    <p:sldId id="5637" r:id="rId57"/>
    <p:sldId id="5638" r:id="rId58"/>
    <p:sldId id="5639" r:id="rId59"/>
    <p:sldId id="5640" r:id="rId60"/>
    <p:sldId id="5641" r:id="rId61"/>
    <p:sldId id="5636" r:id="rId62"/>
    <p:sldId id="5669" r:id="rId63"/>
    <p:sldId id="5670" r:id="rId64"/>
    <p:sldId id="5671" r:id="rId65"/>
    <p:sldId id="5642" r:id="rId66"/>
    <p:sldId id="5675" r:id="rId67"/>
    <p:sldId id="5672" r:id="rId68"/>
    <p:sldId id="5680" r:id="rId69"/>
    <p:sldId id="5276" r:id="rId70"/>
    <p:sldId id="5677" r:id="rId71"/>
    <p:sldId id="5678" r:id="rId72"/>
    <p:sldId id="5609" r:id="rId73"/>
    <p:sldId id="5679" r:id="rId74"/>
    <p:sldId id="2464" r:id="rId75"/>
    <p:sldId id="5673" r:id="rId76"/>
    <p:sldId id="2686" r:id="rId77"/>
    <p:sldId id="2646" r:id="rId78"/>
    <p:sldId id="2454" r:id="rId7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69B"/>
    <a:srgbClr val="87C54A"/>
    <a:srgbClr val="F8CC2B"/>
    <a:srgbClr val="689D33"/>
    <a:srgbClr val="73AE38"/>
    <a:srgbClr val="80C13F"/>
    <a:srgbClr val="007971"/>
    <a:srgbClr val="ABFBEE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15DFF5-69D9-4A6D-A431-023ECC74EDC3}" v="5" dt="2024-04-23T16:47:06.0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08" y="1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76" Type="http://schemas.openxmlformats.org/officeDocument/2006/relationships/slide" Target="slides/slide64.xml"/><Relationship Id="rId8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59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slide" Target="slides/slide54.xml"/><Relationship Id="rId74" Type="http://schemas.openxmlformats.org/officeDocument/2006/relationships/slide" Target="slides/slide62.xml"/><Relationship Id="rId79" Type="http://schemas.openxmlformats.org/officeDocument/2006/relationships/slide" Target="slides/slide67.xml"/><Relationship Id="rId87" Type="http://schemas.microsoft.com/office/2018/10/relationships/authors" Target="author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9.xml"/><Relationship Id="rId82" Type="http://schemas.openxmlformats.org/officeDocument/2006/relationships/presProps" Target="presProps.xml"/><Relationship Id="rId19" Type="http://schemas.openxmlformats.org/officeDocument/2006/relationships/slide" Target="slides/slide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77" Type="http://schemas.openxmlformats.org/officeDocument/2006/relationships/slide" Target="slides/slide65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80" Type="http://schemas.openxmlformats.org/officeDocument/2006/relationships/notesMaster" Target="notesMasters/notesMaster1.xml"/><Relationship Id="rId85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slide" Target="slides/slide58.xml"/><Relationship Id="rId75" Type="http://schemas.openxmlformats.org/officeDocument/2006/relationships/slide" Target="slides/slide63.xml"/><Relationship Id="rId83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slide" Target="slides/slide61.xml"/><Relationship Id="rId78" Type="http://schemas.openxmlformats.org/officeDocument/2006/relationships/slide" Target="slides/slide66.xml"/><Relationship Id="rId81" Type="http://schemas.openxmlformats.org/officeDocument/2006/relationships/handoutMaster" Target="handoutMasters/handoutMaster1.xml"/><Relationship Id="rId86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tatut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922-49E7-83E0-B5BE799DF30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922-49E7-83E0-B5BE799DF30E}"/>
              </c:ext>
            </c:extLst>
          </c:dPt>
          <c:dLbls>
            <c:dLbl>
              <c:idx val="0"/>
              <c:layout>
                <c:manualLayout>
                  <c:x val="2.8275328429982535E-2"/>
                  <c:y val="-0.11727302360327367"/>
                </c:manualLayout>
              </c:layout>
              <c:tx>
                <c:rich>
                  <a:bodyPr/>
                  <a:lstStyle/>
                  <a:p>
                    <a:fld id="{6BB5B7D6-93F4-4582-873A-7B93D4904F80}" type="PERCENTAGE">
                      <a:rPr lang="en-US" sz="2400" b="1">
                        <a:solidFill>
                          <a:schemeClr val="accent1"/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922-49E7-83E0-B5BE799DF30E}"/>
                </c:ext>
              </c:extLst>
            </c:dLbl>
            <c:dLbl>
              <c:idx val="1"/>
              <c:layout>
                <c:manualLayout>
                  <c:x val="-0.16164292882507336"/>
                  <c:y val="9.955029924129073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1" i="0" u="none" strike="noStrike" kern="1200" baseline="0">
                      <a:solidFill>
                        <a:schemeClr val="accent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922-49E7-83E0-B5BE799DF3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/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22-49E7-83E0-B5BE799DF3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5AECF29-B97B-41B1-B7A8-3613CCC34D6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2419408-BABC-4521-84DA-23F7F6DE235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882599-D379-4556-9147-210E82E72565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C37C37-AAB9-4E70-AB68-740394CAC8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8D50E0-55BB-4B2F-B36D-57A6AD17D8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C8E144-4208-4DF5-88DA-E1C467A868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10437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258356-2CF6-4E5C-BB68-A3FBAAA3B324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F0900D-9F1A-4214-A11A-866C96D785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306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F0900D-9F1A-4214-A11A-866C96D785F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7619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0671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F0900D-9F1A-4214-A11A-866C96D785F9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00769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F0900D-9F1A-4214-A11A-866C96D785F9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9119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17124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0104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F0900D-9F1A-4214-A11A-866C96D785F9}" type="slidenum">
              <a:rPr lang="en-US" smtClean="0"/>
              <a:t>6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5354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F0900D-9F1A-4214-A11A-866C96D785F9}" type="slidenum">
              <a:rPr lang="en-US" smtClean="0"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6790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0258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F0900D-9F1A-4214-A11A-866C96D785F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058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65630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3618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9730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1807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94761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0900D-9F1A-4214-A11A-866C96D785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2848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1.png"/><Relationship Id="rId4" Type="http://schemas.openxmlformats.org/officeDocument/2006/relationships/image" Target="../media/image14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1.png"/><Relationship Id="rId4" Type="http://schemas.openxmlformats.org/officeDocument/2006/relationships/image" Target="../media/image41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1.png"/><Relationship Id="rId4" Type="http://schemas.openxmlformats.org/officeDocument/2006/relationships/image" Target="../media/image44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1.png"/><Relationship Id="rId4" Type="http://schemas.openxmlformats.org/officeDocument/2006/relationships/image" Target="../media/image14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1.png"/><Relationship Id="rId4" Type="http://schemas.openxmlformats.org/officeDocument/2006/relationships/image" Target="../media/image47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1.png"/><Relationship Id="rId4" Type="http://schemas.openxmlformats.org/officeDocument/2006/relationships/image" Target="../media/image14.jpe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black and green rectangle with a black background&#10;&#10;Description automatically generated">
            <a:extLst>
              <a:ext uri="{FF2B5EF4-FFF2-40B4-BE49-F238E27FC236}">
                <a16:creationId xmlns:a16="http://schemas.microsoft.com/office/drawing/2014/main" id="{AE56FD23-D805-77B1-5EA5-1DA87F5424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8" y="0"/>
            <a:ext cx="12189023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D2547C-9364-4CB3-9314-3443C5296A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508" y="3429000"/>
            <a:ext cx="9119287" cy="1528947"/>
          </a:xfrm>
        </p:spPr>
        <p:txBody>
          <a:bodyPr lIns="91440" rIns="91440" anchor="b" anchorCtr="0">
            <a:noAutofit/>
          </a:bodyPr>
          <a:lstStyle>
            <a:lvl1pPr algn="l">
              <a:defRPr sz="5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C782A2-87E1-450A-BEF1-E4B519465D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507" y="5152449"/>
            <a:ext cx="9119287" cy="647126"/>
          </a:xfrm>
        </p:spPr>
        <p:txBody>
          <a:bodyPr/>
          <a:lstStyle>
            <a:lvl1pPr marL="0" indent="0" algn="l">
              <a:buNone/>
              <a:defRPr sz="2400" spc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8" name="Picture 17" descr="A logo for a teacher&#10;&#10;Description automatically generated">
            <a:extLst>
              <a:ext uri="{FF2B5EF4-FFF2-40B4-BE49-F238E27FC236}">
                <a16:creationId xmlns:a16="http://schemas.microsoft.com/office/drawing/2014/main" id="{AA765A01-970B-59F8-878E-B533D510DC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233" y="463778"/>
            <a:ext cx="2305561" cy="106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5386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704E117-2B03-1EA3-1C5F-0B2D148F7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1FD423B-37DC-AC57-07AF-8A1A0310EDE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990850" y="1065213"/>
            <a:ext cx="9201150" cy="57927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</a:t>
            </a:r>
          </a:p>
          <a:p>
            <a:r>
              <a:rPr lang="en-US"/>
              <a:t>insert a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3EE41B9-8A7C-0812-9E35-3A9CDA8DCD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2990850" y="1852613"/>
            <a:ext cx="4762500" cy="3657600"/>
          </a:xfrm>
          <a:solidFill>
            <a:schemeClr val="accent1">
              <a:lumMod val="75000"/>
              <a:alpha val="5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F123AD-CA53-6AE5-46B1-8B54BB4307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852613"/>
            <a:ext cx="6381750" cy="3657600"/>
          </a:xfrm>
          <a:solidFill>
            <a:schemeClr val="accent1">
              <a:lumMod val="75000"/>
            </a:schemeClr>
          </a:solidFill>
        </p:spPr>
        <p:txBody>
          <a:bodyPr lIns="457200" rIns="457200" anchor="ctr">
            <a:noAutofit/>
          </a:bodyPr>
          <a:lstStyle>
            <a:lvl1pPr marL="0" indent="0" algn="l">
              <a:lnSpc>
                <a:spcPct val="16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Use this slide to emphasize a point or insert a quote. Keep it to one to two light sentences.</a:t>
            </a:r>
          </a:p>
        </p:txBody>
      </p:sp>
    </p:spTree>
    <p:extLst>
      <p:ext uri="{BB962C8B-B14F-4D97-AF65-F5344CB8AC3E}">
        <p14:creationId xmlns:p14="http://schemas.microsoft.com/office/powerpoint/2010/main" val="2743671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 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5B768DD4-BC38-EDD8-8E89-B866129E5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385E41-9C65-3EFC-2450-D3013504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99393" y="2235763"/>
            <a:ext cx="2492453" cy="155809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D0479A-694C-A382-0D23-BBCDFA0044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364736" y="2214368"/>
            <a:ext cx="2492453" cy="155809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0BED75-F78C-5065-3CDC-693D1BD9BA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22172" y="2242664"/>
            <a:ext cx="2492453" cy="155809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A75917-560D-FC23-2CDD-74B1A71F21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95421" y="2195033"/>
            <a:ext cx="2492453" cy="155809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1F61641E-9515-7858-7F70-8F0C1E4190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8516" y="3778800"/>
            <a:ext cx="2477604" cy="165044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0552207D-9CBF-0E99-CC3A-D7D1CF5B1B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78928" y="3771900"/>
            <a:ext cx="2462446" cy="165735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4723890-90A3-372E-9B16-D80178205F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21766" y="3771900"/>
            <a:ext cx="2493264" cy="167612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908F0618-3D8A-B40A-2FC5-BB7EEF17393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305694" y="3753128"/>
            <a:ext cx="2477790" cy="167612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F54E3D7-0961-B2FD-BFD9-4200E7F02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0050" y="2242664"/>
            <a:ext cx="2477604" cy="1529236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97AFA94E-3CB0-55AB-EF5F-35351EA0C2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68675" y="2214563"/>
            <a:ext cx="2474322" cy="1557337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38C95F6-3FA3-EBB3-8800-C9099AA8C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038" y="2242664"/>
            <a:ext cx="2472720" cy="1529236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6241659-A67D-511C-73C2-1FC772DD8F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09023" y="2195513"/>
            <a:ext cx="2459115" cy="1528762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7830555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+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C9E8904-0136-685D-B93D-9A5A632B76F0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F7F577-D0FD-0049-3E7B-D46BE2C5E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7792"/>
            <a:ext cx="9219169" cy="78753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7059954F-EEFA-4DC0-8275-C48E80E83615}"/>
              </a:ext>
            </a:extLst>
          </p:cNvPr>
          <p:cNvSpPr/>
          <p:nvPr userDrawn="1"/>
        </p:nvSpPr>
        <p:spPr>
          <a:xfrm rot="5400000">
            <a:off x="4279069" y="3696872"/>
            <a:ext cx="985911" cy="60491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7DBBAC-5AC1-CDD6-9403-E06C08A73F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9100" y="1362075"/>
            <a:ext cx="4248150" cy="5151438"/>
          </a:xfrm>
          <a:solidFill>
            <a:schemeClr val="accent1"/>
          </a:solidFill>
        </p:spPr>
        <p:txBody>
          <a:bodyPr lIns="365760" rIns="27432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8AE886-96A2-4116-A4A2-846D4ECCA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8" y="1362658"/>
            <a:ext cx="6589712" cy="5150684"/>
          </a:xfrm>
          <a:ln>
            <a:solidFill>
              <a:schemeClr val="accent1"/>
            </a:solidFill>
          </a:ln>
        </p:spPr>
        <p:txBody>
          <a:bodyPr lIns="182880" tIns="182880" rIns="182880" bIns="182880" anchor="ctr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0D7554-0848-4241-9D65-61693530A1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07A3E75-62DD-E95F-8A1E-448C27B7CAE9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088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99292-D18A-F840-E40F-4E2481AC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38">
            <a:extLst>
              <a:ext uri="{FF2B5EF4-FFF2-40B4-BE49-F238E27FC236}">
                <a16:creationId xmlns:a16="http://schemas.microsoft.com/office/drawing/2014/main" id="{A7E3F95D-17C7-00B7-E3CC-9DD44BF3534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9393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A80BA819-6AB3-DC6E-B9F7-829040E514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9619" y="5724526"/>
            <a:ext cx="3467100" cy="58102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2">
            <a:extLst>
              <a:ext uri="{FF2B5EF4-FFF2-40B4-BE49-F238E27FC236}">
                <a16:creationId xmlns:a16="http://schemas.microsoft.com/office/drawing/2014/main" id="{C863983F-102B-1CF9-CAB7-4BF8363B820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98534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9" name="Text Placeholder 44">
            <a:extLst>
              <a:ext uri="{FF2B5EF4-FFF2-40B4-BE49-F238E27FC236}">
                <a16:creationId xmlns:a16="http://schemas.microsoft.com/office/drawing/2014/main" id="{0447845F-460D-EF0F-3C85-CD9682EB48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98534" y="5724525"/>
            <a:ext cx="3467100" cy="581025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42">
            <a:extLst>
              <a:ext uri="{FF2B5EF4-FFF2-40B4-BE49-F238E27FC236}">
                <a16:creationId xmlns:a16="http://schemas.microsoft.com/office/drawing/2014/main" id="{D97B8D89-9249-7A8D-B1CF-4E022ACB8D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325281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11" name="Text Placeholder 44">
            <a:extLst>
              <a:ext uri="{FF2B5EF4-FFF2-40B4-BE49-F238E27FC236}">
                <a16:creationId xmlns:a16="http://schemas.microsoft.com/office/drawing/2014/main" id="{0CFE4C8B-C50A-E1D0-68DA-2A0CBCE15E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25281" y="5724525"/>
            <a:ext cx="3467100" cy="581025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92759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497F8-F53B-D2A7-D94B-31E2BDEEB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80E81D2-B493-8BC3-5C67-B4DCE0DA713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399393" y="1695413"/>
            <a:ext cx="11395210" cy="3821409"/>
            <a:chOff x="399393" y="1695413"/>
            <a:chExt cx="11395210" cy="382140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BB2FC8B-3E9B-2053-D9F2-81B2CDE7A2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401317" y="1695413"/>
              <a:ext cx="11374827" cy="2935660"/>
              <a:chOff x="401317" y="1695413"/>
              <a:chExt cx="11374827" cy="293566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102CE077-AA72-6EF9-86C3-F16DC839B8A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9448100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1EEDA26B-E412-1AAE-99BF-E354FBD5EFE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01318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81351332-7EEC-5B19-6DE1-2DDD91A9C3E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01317" y="1698219"/>
                <a:ext cx="2329884" cy="125934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A926F7F-4CB0-C175-D739-B5314FEF924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395881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D0A4E66-2C6B-A8E5-233B-FC4F805279A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97720" y="1700666"/>
                <a:ext cx="2326205" cy="123487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39E0968-128F-ECC1-CED6-9F4CAECC2B7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403816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D63F789-3B4F-2DD0-6559-4279C17CBB3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403817" y="1700667"/>
                <a:ext cx="2323180" cy="12348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AA7A27CD-CB71-87C5-8849-0B946C1499A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9446175" y="1700666"/>
                <a:ext cx="2328044" cy="12731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919257B-B330-4B14-3438-B6A58264B6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0" idx="0"/>
              </p:cNvCxnSpPr>
              <p:nvPr/>
            </p:nvCxnSpPr>
            <p:spPr>
              <a:xfrm flipV="1">
                <a:off x="1562828" y="4079864"/>
                <a:ext cx="587" cy="551209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CDC0E3E7-8514-CBC3-9925-DA162E62B47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1" idx="0"/>
              </p:cNvCxnSpPr>
              <p:nvPr/>
            </p:nvCxnSpPr>
            <p:spPr>
              <a:xfrm flipH="1" flipV="1">
                <a:off x="4574442" y="4085935"/>
                <a:ext cx="3855" cy="503164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A043E423-EEDD-0C3F-6250-C20AA02C234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2" idx="0"/>
              </p:cNvCxnSpPr>
              <p:nvPr/>
            </p:nvCxnSpPr>
            <p:spPr>
              <a:xfrm flipH="1" flipV="1">
                <a:off x="7582377" y="4086180"/>
                <a:ext cx="11389" cy="527256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9CC51457-AF5D-9D9D-F956-5CC41A1C0CE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3" idx="0"/>
              </p:cNvCxnSpPr>
              <p:nvPr/>
            </p:nvCxnSpPr>
            <p:spPr>
              <a:xfrm flipH="1" flipV="1">
                <a:off x="10604852" y="4077194"/>
                <a:ext cx="4382" cy="539955"/>
              </a:xfrm>
              <a:prstGeom prst="line">
                <a:avLst/>
              </a:pr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280743A-46FF-F379-359B-DDA458D329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99393" y="5037629"/>
              <a:ext cx="11395210" cy="0"/>
            </a:xfrm>
            <a:prstGeom prst="line">
              <a:avLst/>
            </a:prstGeom>
            <a:ln w="38100"/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9BABD96-BC99-C03B-9E10-931CCF597F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79423" y="4631073"/>
              <a:ext cx="766810" cy="7668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251536E-62E3-2AA1-CEFD-B9C9A29376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194892" y="4589099"/>
              <a:ext cx="766810" cy="7668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146F70A-A640-4989-F4E5-4FF57043E8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210361" y="4613436"/>
              <a:ext cx="766810" cy="766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25F82DC-BD4F-AFC5-924C-D472922253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225829" y="4617149"/>
              <a:ext cx="766810" cy="76681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3D77914-B6E9-199C-5F2A-2E4D99CA4D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2613363" y="4581605"/>
              <a:ext cx="914400" cy="914400"/>
            </a:xfrm>
            <a:prstGeom prst="rect">
              <a:avLst/>
            </a:prstGeom>
          </p:spPr>
        </p:pic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2469D51B-BC51-9029-C903-BB91BED5DC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5713950" y="4602422"/>
              <a:ext cx="914400" cy="914400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121B9252-AFA0-A819-3ECA-7D37286C04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8644300" y="4589099"/>
              <a:ext cx="914400" cy="914400"/>
            </a:xfrm>
            <a:prstGeom prst="rect">
              <a:avLst/>
            </a:prstGeom>
          </p:spPr>
        </p:pic>
      </p:grpSp>
      <p:sp>
        <p:nvSpPr>
          <p:cNvPr id="39" name="Text Placeholder 48">
            <a:extLst>
              <a:ext uri="{FF2B5EF4-FFF2-40B4-BE49-F238E27FC236}">
                <a16:creationId xmlns:a16="http://schemas.microsoft.com/office/drawing/2014/main" id="{843B5F78-147D-140C-CA71-235106604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319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Content Placeholder 50">
            <a:extLst>
              <a:ext uri="{FF2B5EF4-FFF2-40B4-BE49-F238E27FC236}">
                <a16:creationId xmlns:a16="http://schemas.microsoft.com/office/drawing/2014/main" id="{96767FD8-C20D-1504-612A-B847A6EE633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181372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41" name="Text Placeholder 60">
            <a:extLst>
              <a:ext uri="{FF2B5EF4-FFF2-40B4-BE49-F238E27FC236}">
                <a16:creationId xmlns:a16="http://schemas.microsoft.com/office/drawing/2014/main" id="{F9DEB5B9-1D97-DAAA-E0F7-7CEB34A3A6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9393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3" name="Text Placeholder 48">
            <a:extLst>
              <a:ext uri="{FF2B5EF4-FFF2-40B4-BE49-F238E27FC236}">
                <a16:creationId xmlns:a16="http://schemas.microsoft.com/office/drawing/2014/main" id="{75D825C9-A96C-CF0E-8670-A25546F3AB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7238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Content Placeholder 50">
            <a:extLst>
              <a:ext uri="{FF2B5EF4-FFF2-40B4-BE49-F238E27FC236}">
                <a16:creationId xmlns:a16="http://schemas.microsoft.com/office/drawing/2014/main" id="{0B4F9EB4-B491-338C-35B5-3C6CF6AEE06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187291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45" name="Text Placeholder 60">
            <a:extLst>
              <a:ext uri="{FF2B5EF4-FFF2-40B4-BE49-F238E27FC236}">
                <a16:creationId xmlns:a16="http://schemas.microsoft.com/office/drawing/2014/main" id="{69182E76-40AF-2F92-2BF3-F7BE7FDF47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5312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6" name="Text Placeholder 48">
            <a:extLst>
              <a:ext uri="{FF2B5EF4-FFF2-40B4-BE49-F238E27FC236}">
                <a16:creationId xmlns:a16="http://schemas.microsoft.com/office/drawing/2014/main" id="{AAEC347C-E9B9-3AC7-A2D7-712F122C8D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96546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Content Placeholder 50">
            <a:extLst>
              <a:ext uri="{FF2B5EF4-FFF2-40B4-BE49-F238E27FC236}">
                <a16:creationId xmlns:a16="http://schemas.microsoft.com/office/drawing/2014/main" id="{7719E8D3-37DF-09F6-8810-43D30DB7A4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76599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48" name="Text Placeholder 60">
            <a:extLst>
              <a:ext uri="{FF2B5EF4-FFF2-40B4-BE49-F238E27FC236}">
                <a16:creationId xmlns:a16="http://schemas.microsoft.com/office/drawing/2014/main" id="{36D05DBE-B525-853F-AE5A-6EC6D20DD4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4620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4316F379-0B41-35F9-0408-8433B41921D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7985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Content Placeholder 50">
            <a:extLst>
              <a:ext uri="{FF2B5EF4-FFF2-40B4-BE49-F238E27FC236}">
                <a16:creationId xmlns:a16="http://schemas.microsoft.com/office/drawing/2014/main" id="{F680A05B-5FAD-D8CE-9046-1874672709CF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10238038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51" name="Text Placeholder 60">
            <a:extLst>
              <a:ext uri="{FF2B5EF4-FFF2-40B4-BE49-F238E27FC236}">
                <a16:creationId xmlns:a16="http://schemas.microsoft.com/office/drawing/2014/main" id="{9BE6BC1E-19DD-EDA7-E218-826CBCC2A5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56059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76004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imelin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285DE-9BB6-A674-7CB8-B794F70D8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9285C9-C210-6306-0914-A914B0F9D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7450877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D31505-D0C9-A750-7715-F672F5AEF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01318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B498E1-E9F2-B1D0-2630-F3F5A6A4C3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01225" y="1698219"/>
            <a:ext cx="1973581" cy="12593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8C7558-14EB-4E86-65CA-CDD1FFD8D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51171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8A59CD-10EA-B392-92F8-6399D4378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47968" y="1700666"/>
            <a:ext cx="1976692" cy="12348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C4C6E1-1166-049B-E7AD-E8D65983CA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101024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0D7E38-692A-0266-2B2A-08CB08B931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097820" y="1700667"/>
            <a:ext cx="1980541" cy="1234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E844F4-8A3B-8D58-DD2D-6A0ACA9D3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800730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B3D6ED-3346-572E-D415-F78C19A78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798805" y="1700666"/>
            <a:ext cx="1975413" cy="1273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841711-2477-1D4C-9A67-E209F192D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7448952" y="1700666"/>
            <a:ext cx="1975413" cy="1273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1092AB4-F662-EAD4-D087-BFBB9393EB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1387100" y="4079864"/>
            <a:ext cx="0" cy="551209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EE5FD47-77F6-7C13-0357-AD4846DCF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3752184" y="4085935"/>
            <a:ext cx="1233" cy="50316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E1177F6-FBB0-E490-1C80-63720C10F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100128" y="4086180"/>
            <a:ext cx="3142" cy="559174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6373376-31E8-C5CD-1CE5-52A67112DC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429079" y="4077194"/>
            <a:ext cx="2235" cy="556585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81BC68F-BF96-FF1E-3EC6-B7B2AB8B1D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7" idx="0"/>
            <a:endCxn id="14" idx="2"/>
          </p:cNvCxnSpPr>
          <p:nvPr/>
        </p:nvCxnSpPr>
        <p:spPr>
          <a:xfrm flipH="1" flipV="1">
            <a:off x="10788437" y="4079865"/>
            <a:ext cx="4399" cy="533571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0AA13F-9433-2219-4A1D-6684A7A9F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399393" y="5037629"/>
            <a:ext cx="11395210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475B4F7-8150-EEAC-AC32-14A8BCB002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03695" y="4631073"/>
            <a:ext cx="766810" cy="76681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C05D674-1BB3-8DF9-8E40-6A0A020D44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368779" y="4589099"/>
            <a:ext cx="766810" cy="7668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6254648-4359-D00A-A27C-1AD1F20FEE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719307" y="4613436"/>
            <a:ext cx="766810" cy="7668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2CA4D2D-915F-CAD7-252D-DF63813E8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048573" y="4617149"/>
            <a:ext cx="766810" cy="7668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2EAB4EE-54C7-BFD2-3826-9F6C65F6F7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409431" y="4613436"/>
            <a:ext cx="766810" cy="7668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CD6C4ACF-6BD3-2645-7042-B68C65D603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2112442" y="4581605"/>
            <a:ext cx="914400" cy="9144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2F0019AE-B6E7-1F98-8370-7BFE29B7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4499184" y="4596961"/>
            <a:ext cx="914400" cy="9144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FBD1FAAE-93A2-8B57-BC24-FAF8D49ED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6810145" y="4589099"/>
            <a:ext cx="914400" cy="9144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58A5E75-178A-8859-EE09-2BEEA7D1E2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9149195" y="4589099"/>
            <a:ext cx="914400" cy="9144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EE7E33F3-FF5A-A7BC-2D00-8399EADB04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255" y="4672348"/>
            <a:ext cx="653686" cy="653686"/>
          </a:xfrm>
          <a:prstGeom prst="rect">
            <a:avLst/>
          </a:prstGeom>
        </p:spPr>
      </p:pic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D1F09204-0A3A-9424-32DD-63FB6BE5E4AA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401319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Content Placeholder 50">
            <a:extLst>
              <a:ext uri="{FF2B5EF4-FFF2-40B4-BE49-F238E27FC236}">
                <a16:creationId xmlns:a16="http://schemas.microsoft.com/office/drawing/2014/main" id="{2AEFE0C1-C0D9-7A7F-D32C-958AD6C8F6C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1003695" y="4627909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8525CFAA-7DB3-CE77-909C-1D1498375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9393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90957608-973E-E7C2-92A2-EE9A08E9F0CD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743373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Content Placeholder 50">
            <a:extLst>
              <a:ext uri="{FF2B5EF4-FFF2-40B4-BE49-F238E27FC236}">
                <a16:creationId xmlns:a16="http://schemas.microsoft.com/office/drawing/2014/main" id="{6B909629-9A6A-3E81-5FB1-817E0F39C791}"/>
              </a:ext>
            </a:extLst>
          </p:cNvPr>
          <p:cNvSpPr>
            <a:spLocks noGrp="1"/>
          </p:cNvSpPr>
          <p:nvPr userDrawn="1">
            <p:ph sz="quarter" idx="16"/>
          </p:nvPr>
        </p:nvSpPr>
        <p:spPr>
          <a:xfrm>
            <a:off x="3345749" y="4603980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2" name="Text Placeholder 60">
            <a:extLst>
              <a:ext uri="{FF2B5EF4-FFF2-40B4-BE49-F238E27FC236}">
                <a16:creationId xmlns:a16="http://schemas.microsoft.com/office/drawing/2014/main" id="{E930A968-9067-13E2-37C4-191D606CA5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49247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4" name="Text Placeholder 48">
            <a:extLst>
              <a:ext uri="{FF2B5EF4-FFF2-40B4-BE49-F238E27FC236}">
                <a16:creationId xmlns:a16="http://schemas.microsoft.com/office/drawing/2014/main" id="{D0A3F594-A64E-FEC6-8BE2-493E6CCB06F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111082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Content Placeholder 50">
            <a:extLst>
              <a:ext uri="{FF2B5EF4-FFF2-40B4-BE49-F238E27FC236}">
                <a16:creationId xmlns:a16="http://schemas.microsoft.com/office/drawing/2014/main" id="{C0F3A1BE-2314-4202-C384-482A80F3E933}"/>
              </a:ext>
            </a:extLst>
          </p:cNvPr>
          <p:cNvSpPr>
            <a:spLocks noGrp="1"/>
          </p:cNvSpPr>
          <p:nvPr userDrawn="1">
            <p:ph sz="quarter" idx="18"/>
          </p:nvPr>
        </p:nvSpPr>
        <p:spPr>
          <a:xfrm>
            <a:off x="5713458" y="4598492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EAD0A4C9-EE99-A2CF-DC8E-82C241A753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13992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6" name="Text Placeholder 48">
            <a:extLst>
              <a:ext uri="{FF2B5EF4-FFF2-40B4-BE49-F238E27FC236}">
                <a16:creationId xmlns:a16="http://schemas.microsoft.com/office/drawing/2014/main" id="{97B62171-25D1-AD52-DAC6-EB0340CAAE0C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7451793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Content Placeholder 50">
            <a:extLst>
              <a:ext uri="{FF2B5EF4-FFF2-40B4-BE49-F238E27FC236}">
                <a16:creationId xmlns:a16="http://schemas.microsoft.com/office/drawing/2014/main" id="{3C66568D-24E6-31AA-EB06-D6EBD615D64F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8054169" y="4592454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5F191BE6-CC17-1152-99AC-E225735A23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34059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8" name="Text Placeholder 48">
            <a:extLst>
              <a:ext uri="{FF2B5EF4-FFF2-40B4-BE49-F238E27FC236}">
                <a16:creationId xmlns:a16="http://schemas.microsoft.com/office/drawing/2014/main" id="{097EF379-DC95-E613-037D-50CBD626803C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9805765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Content Placeholder 50">
            <a:extLst>
              <a:ext uri="{FF2B5EF4-FFF2-40B4-BE49-F238E27FC236}">
                <a16:creationId xmlns:a16="http://schemas.microsoft.com/office/drawing/2014/main" id="{C2EC05FF-D147-4C06-0156-C392E9CD1278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0408141" y="4579469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3" name="Text Placeholder 60">
            <a:extLst>
              <a:ext uri="{FF2B5EF4-FFF2-40B4-BE49-F238E27FC236}">
                <a16:creationId xmlns:a16="http://schemas.microsoft.com/office/drawing/2014/main" id="{CBCBB95C-696E-AD72-F363-583392221C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798804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7435691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melin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B011F-F905-C885-C408-C5EF4703E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B845410-8E11-55BB-725A-37293075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8159" y="1695413"/>
            <a:ext cx="11602964" cy="3815948"/>
            <a:chOff x="298159" y="1695413"/>
            <a:chExt cx="11602964" cy="38159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686F2C4-1DF7-BDF3-10AA-5A1693057C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298159" y="1695413"/>
              <a:ext cx="11602964" cy="2949941"/>
              <a:chOff x="298159" y="1695413"/>
              <a:chExt cx="11602964" cy="2949941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1D43AEE5-0D96-3CCD-EA78-7E77DCA5326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00086" y="1695413"/>
                <a:ext cx="1705977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028F19A2-29C3-8B81-1027-57026121BF9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98159" y="1698218"/>
                <a:ext cx="1705980" cy="129767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3685919B-2F19-75EE-7E2B-9BCEF54A24A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2" idx="0"/>
              </p:cNvCxnSpPr>
              <p:nvPr/>
            </p:nvCxnSpPr>
            <p:spPr>
              <a:xfrm flipH="1" flipV="1">
                <a:off x="1159382" y="4079864"/>
                <a:ext cx="7174" cy="551209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DAC35EA-275F-3C79-1F46-FE971ED55B9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270428" y="1695413"/>
                <a:ext cx="1705977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587E00-1993-8B3A-8D47-FD31E8AFA58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281113" y="1700666"/>
                <a:ext cx="1695293" cy="123487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FDC6EA83-DC00-A1BC-A1B3-C67C737F89D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3" idx="0"/>
              </p:cNvCxnSpPr>
              <p:nvPr/>
            </p:nvCxnSpPr>
            <p:spPr>
              <a:xfrm flipV="1">
                <a:off x="3122320" y="4085935"/>
                <a:ext cx="7404" cy="503164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2D7EA93A-5E5B-9E67-5915-5215AF0A734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255308" y="1695413"/>
                <a:ext cx="1709121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29A4A3-E97E-BE6F-7FBC-36DA5893D05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253380" y="1700667"/>
                <a:ext cx="1711050" cy="12348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BA442FFD-CB61-7071-F1AA-0F453950A05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 flipH="1" flipV="1">
                <a:off x="5121720" y="4086180"/>
                <a:ext cx="6525" cy="55917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925B000-10A8-9C3F-AC27-68319AD9F89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250601" y="1695413"/>
                <a:ext cx="1705979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6F1A7810-9EF2-C841-812F-7DC3E7A3261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248677" y="1700666"/>
                <a:ext cx="1707904" cy="12348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39A7A1CD-FDAC-3582-8FCC-12B95F40BBF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 flipH="1" flipV="1">
                <a:off x="7095204" y="4077194"/>
                <a:ext cx="7425" cy="556585"/>
              </a:xfrm>
              <a:prstGeom prst="line">
                <a:avLst/>
              </a:pr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F7E133F-4CB4-E0CF-648A-F0BAD98F7A7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222872" y="1695413"/>
                <a:ext cx="1705980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0475527-568A-BD1E-F7B2-451DD81B1B1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220945" y="1700666"/>
                <a:ext cx="1707904" cy="14923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23492B56-25AE-AC43-68A0-D7147657276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6" idx="0"/>
                <a:endCxn id="19" idx="2"/>
              </p:cNvCxnSpPr>
              <p:nvPr/>
            </p:nvCxnSpPr>
            <p:spPr>
              <a:xfrm flipV="1">
                <a:off x="9075862" y="4079865"/>
                <a:ext cx="0" cy="533571"/>
              </a:xfrm>
              <a:prstGeom prst="line">
                <a:avLst/>
              </a:pr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B947743-6D88-73E3-6DAF-AD0835E112D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0195143" y="1695413"/>
                <a:ext cx="1705980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D6CF117-E9ED-4C6F-BFDE-FA1F4D703A2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0193216" y="1700666"/>
                <a:ext cx="1705979" cy="14923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06B6E154-4284-AEA0-4F0B-2B454421DC7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7" idx="0"/>
                <a:endCxn id="22" idx="2"/>
              </p:cNvCxnSpPr>
              <p:nvPr/>
            </p:nvCxnSpPr>
            <p:spPr>
              <a:xfrm flipV="1">
                <a:off x="11048133" y="4079865"/>
                <a:ext cx="0" cy="533571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7777AA3-61BF-C55F-844A-9945A09269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99393" y="5037629"/>
              <a:ext cx="11395210" cy="0"/>
            </a:xfrm>
            <a:prstGeom prst="line">
              <a:avLst/>
            </a:prstGeom>
            <a:ln w="38100"/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001BE0E-A88F-6E46-12CA-C0460A39FB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1681046" y="4581605"/>
              <a:ext cx="914400" cy="914400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4FB941E6-2730-F47B-EF64-A9B7DB42B2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3665926" y="4596961"/>
              <a:ext cx="914400" cy="914400"/>
            </a:xfrm>
            <a:prstGeom prst="rect">
              <a:avLst/>
            </a:prstGeom>
          </p:spPr>
        </p:pic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3ACD5CF-AB5C-AE90-A7EF-D8E0AAEF5C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5653950" y="4589099"/>
              <a:ext cx="914400" cy="914400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C3723252-84F9-F10F-E9EC-F0951144D0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9603834" y="4589099"/>
              <a:ext cx="914400" cy="914400"/>
            </a:xfrm>
            <a:prstGeom prst="rect">
              <a:avLst/>
            </a:prstGeom>
          </p:spPr>
        </p:pic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36656A2-2940-3659-35CF-A9AB16A788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83151" y="4631073"/>
              <a:ext cx="766810" cy="7668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389D2E2-4AF5-C022-34DE-4ADC9BF3AC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2738915" y="4589099"/>
              <a:ext cx="766810" cy="7668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BF39AF5C-D1DC-3C1C-2E9A-7E241F7777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747424" y="4613436"/>
              <a:ext cx="766810" cy="766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FD368EF-DE6B-551C-C7BA-6C39AE5189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722123" y="4617149"/>
              <a:ext cx="766810" cy="76681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A9838F8-3B33-2F98-F73C-33FC7A4E09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8692457" y="4613436"/>
              <a:ext cx="766810" cy="76681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DD0768-AACD-1199-15DC-680AC3BBD1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64728" y="4613436"/>
              <a:ext cx="766810" cy="7668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BB0B5095-A8E4-4960-5832-7316C21860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7631563" y="4589099"/>
              <a:ext cx="914400" cy="914400"/>
            </a:xfrm>
            <a:prstGeom prst="rect">
              <a:avLst/>
            </a:prstGeom>
          </p:spPr>
        </p:pic>
      </p:grp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E510DFF1-3665-C9C0-444F-E4000A8A4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8450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8" name="Content Placeholder 57">
            <a:extLst>
              <a:ext uri="{FF2B5EF4-FFF2-40B4-BE49-F238E27FC236}">
                <a16:creationId xmlns:a16="http://schemas.microsoft.com/office/drawing/2014/main" id="{364C9444-7621-87C1-C9A0-D26718ABBF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82638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39A010A9-F000-DEC1-1293-DC72E5B7E2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7446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7FD4EBEB-47AE-3BDA-E5E6-22F04A39F0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66648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64" name="Content Placeholder 57">
            <a:extLst>
              <a:ext uri="{FF2B5EF4-FFF2-40B4-BE49-F238E27FC236}">
                <a16:creationId xmlns:a16="http://schemas.microsoft.com/office/drawing/2014/main" id="{58EF0936-B6E3-1C24-1212-3D78A48CE6C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750836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6EEF3A11-FA85-CDBE-CEEB-4729ACE6CA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65644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6" name="Text Placeholder 55">
            <a:extLst>
              <a:ext uri="{FF2B5EF4-FFF2-40B4-BE49-F238E27FC236}">
                <a16:creationId xmlns:a16="http://schemas.microsoft.com/office/drawing/2014/main" id="{AD172BC0-DD7F-1694-0D1B-48A6D7C244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2109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67" name="Content Placeholder 57">
            <a:extLst>
              <a:ext uri="{FF2B5EF4-FFF2-40B4-BE49-F238E27FC236}">
                <a16:creationId xmlns:a16="http://schemas.microsoft.com/office/drawing/2014/main" id="{C32B1DF2-0F11-E7E7-3256-981B61ED32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46297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AE9F870F-E6B2-417E-72C8-D5A3B43CC5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1105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9" name="Text Placeholder 55">
            <a:extLst>
              <a:ext uri="{FF2B5EF4-FFF2-40B4-BE49-F238E27FC236}">
                <a16:creationId xmlns:a16="http://schemas.microsoft.com/office/drawing/2014/main" id="{D212CA6C-FD03-1D21-8138-468BD63CF7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3608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0" name="Content Placeholder 57">
            <a:extLst>
              <a:ext uri="{FF2B5EF4-FFF2-40B4-BE49-F238E27FC236}">
                <a16:creationId xmlns:a16="http://schemas.microsoft.com/office/drawing/2014/main" id="{C83E5A4F-EC10-CDE1-EBC3-884C8B85F6C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727796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54592276-D88D-47EF-AA52-46BCA92100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2604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72" name="Text Placeholder 55">
            <a:extLst>
              <a:ext uri="{FF2B5EF4-FFF2-40B4-BE49-F238E27FC236}">
                <a16:creationId xmlns:a16="http://schemas.microsoft.com/office/drawing/2014/main" id="{001FAD61-5CB7-73D8-520E-E4481A45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42129" y="1857856"/>
            <a:ext cx="1686720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3" name="Content Placeholder 57">
            <a:extLst>
              <a:ext uri="{FF2B5EF4-FFF2-40B4-BE49-F238E27FC236}">
                <a16:creationId xmlns:a16="http://schemas.microsoft.com/office/drawing/2014/main" id="{FBF8B78B-2B79-6E6D-91D1-26FE68BAC57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695069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74" name="Text Placeholder 60">
            <a:extLst>
              <a:ext uri="{FF2B5EF4-FFF2-40B4-BE49-F238E27FC236}">
                <a16:creationId xmlns:a16="http://schemas.microsoft.com/office/drawing/2014/main" id="{25E278C5-BF72-D1AC-5EEE-617142E7AF8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09877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75" name="Text Placeholder 55">
            <a:extLst>
              <a:ext uri="{FF2B5EF4-FFF2-40B4-BE49-F238E27FC236}">
                <a16:creationId xmlns:a16="http://schemas.microsoft.com/office/drawing/2014/main" id="{EE48076F-5B94-0555-9A0C-1883AB64B6E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0190687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6" name="Content Placeholder 57">
            <a:extLst>
              <a:ext uri="{FF2B5EF4-FFF2-40B4-BE49-F238E27FC236}">
                <a16:creationId xmlns:a16="http://schemas.microsoft.com/office/drawing/2014/main" id="{B622E7DB-609B-DAB6-B6D0-127CDC9D902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0674875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77" name="Text Placeholder 60">
            <a:extLst>
              <a:ext uri="{FF2B5EF4-FFF2-40B4-BE49-F238E27FC236}">
                <a16:creationId xmlns:a16="http://schemas.microsoft.com/office/drawing/2014/main" id="{BC68F9FB-0B5F-0A83-D073-C6EF3EC28B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189683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02426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C92AB-6B05-D734-48BD-BD35D896D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970A56D-6942-7CDC-ADA6-AF67C9708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2978331"/>
            <a:ext cx="12192000" cy="1698172"/>
            <a:chOff x="0" y="2978331"/>
            <a:chExt cx="12192000" cy="1698172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26E1E24-F3C6-D0AB-0330-51853FA4E84E}"/>
                </a:ext>
              </a:extLst>
            </p:cNvPr>
            <p:cNvCxnSpPr/>
            <p:nvPr userDrawn="1"/>
          </p:nvCxnSpPr>
          <p:spPr>
            <a:xfrm>
              <a:off x="0" y="3840480"/>
              <a:ext cx="12192000" cy="0"/>
            </a:xfrm>
            <a:prstGeom prst="line">
              <a:avLst/>
            </a:prstGeom>
            <a:ln w="28575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C1FCA20-BE44-C4C6-08F3-88034173F9D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936621" y="2991394"/>
              <a:ext cx="0" cy="84908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5371F9E-A6AC-90EA-AC73-4ACC1CD177E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932266" y="3429000"/>
              <a:ext cx="0" cy="411480"/>
            </a:xfrm>
            <a:prstGeom prst="line">
              <a:avLst/>
            </a:prstGeom>
            <a:ln w="57150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636EC85-CD80-7560-8D32-78C53A07596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118825" y="3827417"/>
              <a:ext cx="0" cy="84908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13918F-B607-CC08-97BC-561C25360AF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118825" y="3840480"/>
              <a:ext cx="0" cy="411480"/>
            </a:xfrm>
            <a:prstGeom prst="line">
              <a:avLst/>
            </a:prstGeom>
            <a:ln w="57150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359A1AC-4D14-0E69-FAFE-F0611BA51F7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05384" y="3429000"/>
              <a:ext cx="0" cy="411480"/>
            </a:xfrm>
            <a:prstGeom prst="line">
              <a:avLst/>
            </a:prstGeom>
            <a:ln w="57150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6DF0097-EAC2-E1D2-52C2-329081F03C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05384" y="2978331"/>
              <a:ext cx="0" cy="84908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120A9B99-BDCE-F45A-016E-BD76BDC44F3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767834" y="2580221"/>
            <a:ext cx="2328863" cy="329822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z="1800"/>
              <a:t>Insert Title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0FBCD15-6189-4A23-AE9A-092A5C276D0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767834" y="3922137"/>
            <a:ext cx="2328863" cy="1023938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sz="1800"/>
              <a:t>Insert body copy</a:t>
            </a:r>
            <a:endParaRPr lang="en-US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516C3B2A-196A-71AD-2525-F772340338BB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954393" y="2698818"/>
            <a:ext cx="2328863" cy="1023938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sz="1800"/>
              <a:t>Insert body copy</a:t>
            </a:r>
            <a:endParaRPr lang="en-US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2CDC9D64-CD68-F1D8-81E1-4E51C820104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954393" y="4781164"/>
            <a:ext cx="2328863" cy="32982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z="1800"/>
              <a:t>Insert Title</a:t>
            </a:r>
            <a:endParaRPr lang="en-US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C23FE496-EF81-0FAC-96BE-9B49C887D18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8140952" y="2580221"/>
            <a:ext cx="2328863" cy="329822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z="1800"/>
              <a:t>Insert Title</a:t>
            </a:r>
            <a:endParaRPr lang="en-US"/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172D350F-803B-A8D5-8ECD-416F58C923D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40952" y="3922137"/>
            <a:ext cx="2328863" cy="1023938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sz="1800"/>
              <a:t>Insert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51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DE31C-6609-C6DC-F9C0-F5E1DF55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Next Steps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802634EB-41FB-47A9-90B8-D5B67ECA48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79333" y="2321757"/>
            <a:ext cx="2590800" cy="74181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F045E949-6266-1CAD-E7A7-9450C57CA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183807" y="2321757"/>
            <a:ext cx="2725153" cy="74181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665AC10B-D833-2155-BBFC-8AE5EA0A89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888282" y="2321757"/>
            <a:ext cx="2725153" cy="74181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DA06CD06-4D6D-87A4-E68A-6C89B2E09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592757" y="2321757"/>
            <a:ext cx="2725153" cy="74181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D3FED6-6B60-C5B0-B887-6760BB56C5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100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C2ECC64-F8C6-1345-ED8F-EF6B7ED435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11351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D322ADB-E0C4-0A63-8396-71C3B32869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03602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AA068DB-E13C-E9D3-ACC4-FBE6A24701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5853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042BF402-EB89-A8C6-734D-04F64BD91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88103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97F83FC-33EB-8EC6-D420-853721001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232" y="2321757"/>
            <a:ext cx="2725153" cy="741810"/>
          </a:xfrm>
          <a:custGeom>
            <a:avLst/>
            <a:gdLst>
              <a:gd name="connsiteX0" fmla="*/ 0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0" fmla="*/ 98474 w 2725153"/>
              <a:gd name="connsiteY0" fmla="*/ 14068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14068 h 741810"/>
              <a:gd name="connsiteX0" fmla="*/ 98474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0 h 741810"/>
              <a:gd name="connsiteX0" fmla="*/ 0 w 2626679"/>
              <a:gd name="connsiteY0" fmla="*/ 0 h 741810"/>
              <a:gd name="connsiteX1" fmla="*/ 2255774 w 2626679"/>
              <a:gd name="connsiteY1" fmla="*/ 0 h 741810"/>
              <a:gd name="connsiteX2" fmla="*/ 2626679 w 2626679"/>
              <a:gd name="connsiteY2" fmla="*/ 370905 h 741810"/>
              <a:gd name="connsiteX3" fmla="*/ 2255774 w 2626679"/>
              <a:gd name="connsiteY3" fmla="*/ 741810 h 741810"/>
              <a:gd name="connsiteX4" fmla="*/ 12535 w 2626679"/>
              <a:gd name="connsiteY4" fmla="*/ 741810 h 741810"/>
              <a:gd name="connsiteX5" fmla="*/ 306183 w 2626679"/>
              <a:gd name="connsiteY5" fmla="*/ 381754 h 741810"/>
              <a:gd name="connsiteX6" fmla="*/ 3687 w 2626679"/>
              <a:gd name="connsiteY6" fmla="*/ 10849 h 741810"/>
              <a:gd name="connsiteX7" fmla="*/ 3126 w 2626679"/>
              <a:gd name="connsiteY7" fmla="*/ 4499 h 741810"/>
              <a:gd name="connsiteX8" fmla="*/ 0 w 2626679"/>
              <a:gd name="connsiteY8" fmla="*/ 0 h 741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6679" h="741810">
                <a:moveTo>
                  <a:pt x="0" y="0"/>
                </a:moveTo>
                <a:lnTo>
                  <a:pt x="2255774" y="0"/>
                </a:lnTo>
                <a:lnTo>
                  <a:pt x="2626679" y="370905"/>
                </a:lnTo>
                <a:lnTo>
                  <a:pt x="2255774" y="741810"/>
                </a:lnTo>
                <a:lnTo>
                  <a:pt x="12535" y="741810"/>
                </a:lnTo>
                <a:lnTo>
                  <a:pt x="306183" y="381754"/>
                </a:lnTo>
                <a:lnTo>
                  <a:pt x="3687" y="10849"/>
                </a:lnTo>
                <a:lnTo>
                  <a:pt x="3126" y="4499"/>
                </a:lnTo>
                <a:cubicBezTo>
                  <a:pt x="3126" y="883"/>
                  <a:pt x="0" y="3616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C2D50-BE4D-F99C-0B0C-BE3D87C3A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21FA6-4114-0DC4-1EAD-D97105717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22D90F-2301-5646-089A-15799D5D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6085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DE31C-6609-C6DC-F9C0-F5E1DF55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Next Steps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802634EB-41FB-47A9-90B8-D5B67ECA48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891740" y="2321757"/>
            <a:ext cx="3280289" cy="74181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F045E949-6266-1CAD-E7A7-9450C57CA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7305" y="2321757"/>
            <a:ext cx="3280289" cy="74181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DA06CD06-4D6D-87A4-E68A-6C89B2E09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302869" y="2321757"/>
            <a:ext cx="3280289" cy="74181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D3FED6-6B60-C5B0-B887-6760BB56C5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7473" y="3063567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C2ECC64-F8C6-1345-ED8F-EF6B7ED435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61929" y="3063567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AA068DB-E13C-E9D3-ACC4-FBE6A24701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6385" y="3045354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042BF402-EB89-A8C6-734D-04F64BD91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30840" y="3063567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97F83FC-33EB-8EC6-D420-853721001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08433" y="2321757"/>
            <a:ext cx="3280289" cy="741810"/>
          </a:xfrm>
          <a:custGeom>
            <a:avLst/>
            <a:gdLst>
              <a:gd name="connsiteX0" fmla="*/ 0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0" fmla="*/ 98474 w 2725153"/>
              <a:gd name="connsiteY0" fmla="*/ 14068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14068 h 741810"/>
              <a:gd name="connsiteX0" fmla="*/ 98474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0 h 741810"/>
              <a:gd name="connsiteX0" fmla="*/ 0 w 2626679"/>
              <a:gd name="connsiteY0" fmla="*/ 0 h 741810"/>
              <a:gd name="connsiteX1" fmla="*/ 2255774 w 2626679"/>
              <a:gd name="connsiteY1" fmla="*/ 0 h 741810"/>
              <a:gd name="connsiteX2" fmla="*/ 2626679 w 2626679"/>
              <a:gd name="connsiteY2" fmla="*/ 370905 h 741810"/>
              <a:gd name="connsiteX3" fmla="*/ 2255774 w 2626679"/>
              <a:gd name="connsiteY3" fmla="*/ 741810 h 741810"/>
              <a:gd name="connsiteX4" fmla="*/ 12535 w 2626679"/>
              <a:gd name="connsiteY4" fmla="*/ 741810 h 741810"/>
              <a:gd name="connsiteX5" fmla="*/ 306183 w 2626679"/>
              <a:gd name="connsiteY5" fmla="*/ 381754 h 741810"/>
              <a:gd name="connsiteX6" fmla="*/ 3687 w 2626679"/>
              <a:gd name="connsiteY6" fmla="*/ 10849 h 741810"/>
              <a:gd name="connsiteX7" fmla="*/ 3126 w 2626679"/>
              <a:gd name="connsiteY7" fmla="*/ 4499 h 741810"/>
              <a:gd name="connsiteX8" fmla="*/ 0 w 2626679"/>
              <a:gd name="connsiteY8" fmla="*/ 0 h 741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6679" h="741810">
                <a:moveTo>
                  <a:pt x="0" y="0"/>
                </a:moveTo>
                <a:lnTo>
                  <a:pt x="2255774" y="0"/>
                </a:lnTo>
                <a:lnTo>
                  <a:pt x="2626679" y="370905"/>
                </a:lnTo>
                <a:lnTo>
                  <a:pt x="2255774" y="741810"/>
                </a:lnTo>
                <a:lnTo>
                  <a:pt x="12535" y="741810"/>
                </a:lnTo>
                <a:lnTo>
                  <a:pt x="306183" y="381754"/>
                </a:lnTo>
                <a:lnTo>
                  <a:pt x="3687" y="10849"/>
                </a:lnTo>
                <a:lnTo>
                  <a:pt x="3126" y="4499"/>
                </a:lnTo>
                <a:cubicBezTo>
                  <a:pt x="3126" y="883"/>
                  <a:pt x="0" y="3616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C2D50-BE4D-F99C-0B0C-BE3D87C3A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21FA6-4114-0DC4-1EAD-D97105717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22D90F-2301-5646-089A-15799D5D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687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418D-15F1-4236-86D3-6539C675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6B6B5-BC8C-433B-81B9-9C57FABEB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8FAA-4420-4285-8D95-A050BC749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C59C6-696E-4645-BF2F-2A33B0C2E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5A9AF-AD14-4EF5-B3BC-132EE02F7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728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40613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9479"/>
            <a:ext cx="9144000" cy="5857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B7CB8E8-4F59-27E5-41EA-F11F5852973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6224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529" r="17529"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40613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9479"/>
            <a:ext cx="9144000" cy="5857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764CAB7-8A67-E328-DE4D-CEF29A3141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4722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pac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33AFCE-25D5-3148-2279-3AD3FED70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6362700" cy="6858000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290475B-0479-1D6B-BE87-51B9C26409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4419600" cy="603567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7460DA2-310B-3638-C368-932EE054672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6000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234633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 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>
            <a:extLst>
              <a:ext uri="{FF2B5EF4-FFF2-40B4-BE49-F238E27FC236}">
                <a16:creationId xmlns:a16="http://schemas.microsoft.com/office/drawing/2014/main" id="{9E9F38D7-76B4-4892-E290-2932DA803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564" y="369062"/>
            <a:ext cx="4322762" cy="611987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key takeaway from the four boxe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90894A-A67E-9E5A-901E-5504287D3D10}"/>
              </a:ext>
            </a:extLst>
          </p:cNvPr>
          <p:cNvSpPr/>
          <p:nvPr userDrawn="1"/>
        </p:nvSpPr>
        <p:spPr>
          <a:xfrm>
            <a:off x="5334000" y="0"/>
            <a:ext cx="3447288" cy="34472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bIns="457200" rtlCol="0" anchor="t" anchorCtr="0">
            <a:noAutofit/>
          </a:bodyPr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2A6B06-536C-CC1F-617B-1960256E7E83}"/>
              </a:ext>
            </a:extLst>
          </p:cNvPr>
          <p:cNvSpPr/>
          <p:nvPr userDrawn="1"/>
        </p:nvSpPr>
        <p:spPr>
          <a:xfrm>
            <a:off x="8763000" y="0"/>
            <a:ext cx="3447288" cy="344728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bIns="457200" rtlCol="0" anchor="t" anchorCtr="0">
            <a:noAutofit/>
          </a:bodyPr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3EC897F-39FB-16DE-BD62-75D1DE5EFF33}"/>
              </a:ext>
            </a:extLst>
          </p:cNvPr>
          <p:cNvSpPr/>
          <p:nvPr userDrawn="1"/>
        </p:nvSpPr>
        <p:spPr>
          <a:xfrm>
            <a:off x="5334000" y="3447288"/>
            <a:ext cx="3447288" cy="341071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bIns="457200" rtlCol="0" anchor="t" anchorCtr="0">
            <a:noAutofit/>
          </a:bodyPr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66FAF2-15F4-D7C3-7961-7884B3F5EC61}"/>
              </a:ext>
            </a:extLst>
          </p:cNvPr>
          <p:cNvSpPr/>
          <p:nvPr userDrawn="1"/>
        </p:nvSpPr>
        <p:spPr>
          <a:xfrm>
            <a:off x="8763000" y="3447288"/>
            <a:ext cx="3447288" cy="341071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tIns="457200" rIns="457200" bIns="457200" rtlCol="0" anchor="t" anchorCtr="0">
            <a:noAutofit/>
          </a:bodyPr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F2E665A-6A7E-E861-D044-42963B5369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13825" y="406400"/>
            <a:ext cx="2687638" cy="355600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Title 1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52A3FFA-4749-F2C2-D19B-5D7837348E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13825" y="887413"/>
            <a:ext cx="2687638" cy="22018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Insert body copy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C5B3794-5CE7-4BA5-72A3-825FD35122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3826" y="3853688"/>
            <a:ext cx="2687637" cy="35636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2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4B77898-291B-AD10-62B4-E4FBF29CF5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13825" y="4334701"/>
            <a:ext cx="2687638" cy="22018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body copy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DBE8B74-B786-7C38-D7AE-EC012B0F23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61113" y="405638"/>
            <a:ext cx="2687638" cy="35636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3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4690822-F56C-7FAC-D186-466191D798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61113" y="887414"/>
            <a:ext cx="2687638" cy="220186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body copy.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29130065-49AC-EA31-1C6F-41BF533AEE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61113" y="3852926"/>
            <a:ext cx="2687638" cy="35712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4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E3E80F79-B39E-E7BB-EE09-B161FD7867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61113" y="4334701"/>
            <a:ext cx="2687987" cy="230104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body copy.</a:t>
            </a:r>
          </a:p>
        </p:txBody>
      </p:sp>
    </p:spTree>
    <p:extLst>
      <p:ext uri="{BB962C8B-B14F-4D97-AF65-F5344CB8AC3E}">
        <p14:creationId xmlns:p14="http://schemas.microsoft.com/office/powerpoint/2010/main" val="13402576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>
            <a:extLst>
              <a:ext uri="{FF2B5EF4-FFF2-40B4-BE49-F238E27FC236}">
                <a16:creationId xmlns:a16="http://schemas.microsoft.com/office/drawing/2014/main" id="{1AF0C642-93E9-6E11-7804-AB49D668D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9200" y="4262436"/>
            <a:ext cx="1257300" cy="125730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5FCB0D7-35B3-A912-3B03-EBE51C2B33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6048" y="4262436"/>
            <a:ext cx="1257301" cy="125730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B8ABA6DB-E6F7-37AC-A674-619CFA4D6B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9198" y="2800350"/>
            <a:ext cx="1257302" cy="12573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6198966-CE12-DCC5-F55A-355062FA55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6048" y="2800350"/>
            <a:ext cx="1257301" cy="125730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8DC4B292-0318-A190-EE08-2F61493781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6049" y="1338262"/>
            <a:ext cx="1257300" cy="12573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BB60BAB3-870E-FB30-D4C9-C4BBFAD95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9200" y="1338262"/>
            <a:ext cx="1257300" cy="1257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AF5D44-D639-CCCB-44C7-156E786124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773" y="365125"/>
            <a:ext cx="7466241" cy="930275"/>
          </a:xfrm>
        </p:spPr>
        <p:txBody>
          <a:bodyPr anchor="b">
            <a:noAutofit/>
          </a:bodyPr>
          <a:lstStyle>
            <a:lvl1pPr>
              <a:defRPr sz="4000"/>
            </a:lvl1pPr>
          </a:lstStyle>
          <a:p>
            <a:r>
              <a:rPr lang="en-US"/>
              <a:t>Additional Resourc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5AB1F5-14E7-BCBA-5F70-ED0BFAEB3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00965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F5D85E-E874-E3F3-7516-F52DE6BBF2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200" y="0"/>
            <a:ext cx="1257300" cy="11334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3009B4-7AA6-A4D7-EC78-A8F67F63E3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338262"/>
            <a:ext cx="1009650" cy="12573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39A730-3BF7-D3A0-268C-DC78C91465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800350"/>
            <a:ext cx="1009650" cy="1257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A7E7E3C-1494-4FF7-63BF-646EB2BFC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262438"/>
            <a:ext cx="1009650" cy="1257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63A899-D4C0-4970-01B1-B984455AD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724526"/>
            <a:ext cx="1009650" cy="11334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6529B3-F23C-468C-14E9-2943213247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200" y="5724526"/>
            <a:ext cx="1257300" cy="11334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1AFFAE-4D86-D553-9A75-0C41BE8984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6050" y="0"/>
            <a:ext cx="1257300" cy="11334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3F2B64-6570-11BD-E018-809DF13EA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6050" y="5724526"/>
            <a:ext cx="125730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EB90E9DD-5234-5F99-66F5-A8BD23CD29A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95773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3BDDD3C8-488F-A7F5-E1B7-734B3B928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5999" y="5724526"/>
            <a:ext cx="3467100" cy="58102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85A9A164-A36C-A30F-5DE6-15D8D22AD77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94914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1B6D1238-618B-508F-C948-4903EEDFC0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94914" y="5724525"/>
            <a:ext cx="3467100" cy="581025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06360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3F299F-6EDE-9B56-A220-20B2339DA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40525"/>
            <a:ext cx="4008120" cy="51728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B871C65-ED77-71D1-9717-9DE57C25E12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0" y="0"/>
            <a:ext cx="6953250" cy="2286000"/>
          </a:xfrm>
          <a:solidFill>
            <a:schemeClr val="accent1"/>
          </a:solidFill>
          <a:ln>
            <a:noFill/>
          </a:ln>
        </p:spPr>
        <p:txBody>
          <a:bodyPr lIns="457200" rIns="45720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ACC8D40-D7A9-E8D8-07D5-B459EC2B31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38750" y="2286000"/>
            <a:ext cx="6953250" cy="2286000"/>
          </a:xfrm>
          <a:solidFill>
            <a:schemeClr val="accent4"/>
          </a:solidFill>
          <a:ln>
            <a:noFill/>
          </a:ln>
        </p:spPr>
        <p:txBody>
          <a:bodyPr lIns="457200" rIns="45720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8093A9A-0FD1-C513-FD50-947FC69C08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8750" y="4572000"/>
            <a:ext cx="6953250" cy="2286000"/>
          </a:xfrm>
          <a:solidFill>
            <a:schemeClr val="accent5"/>
          </a:solidFill>
          <a:ln>
            <a:noFill/>
          </a:ln>
        </p:spPr>
        <p:txBody>
          <a:bodyPr lIns="457200" rIns="45720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11248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erson writing on notebook">
            <a:extLst>
              <a:ext uri="{FF2B5EF4-FFF2-40B4-BE49-F238E27FC236}">
                <a16:creationId xmlns:a16="http://schemas.microsoft.com/office/drawing/2014/main" id="{782E93BA-CFC5-8CC1-1F8F-4C7D456A96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8085139" cy="6858000"/>
          </a:xfrm>
          <a:prstGeom prst="rect">
            <a:avLst/>
          </a:prstGeom>
        </p:spPr>
      </p:pic>
      <p:pic>
        <p:nvPicPr>
          <p:cNvPr id="4" name="Picture 3" descr="Person writing on notebook">
            <a:extLst>
              <a:ext uri="{FF2B5EF4-FFF2-40B4-BE49-F238E27FC236}">
                <a16:creationId xmlns:a16="http://schemas.microsoft.com/office/drawing/2014/main" id="{FFDDC1BA-C2EF-D839-B25F-73510621F2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537" y="4288040"/>
            <a:ext cx="1257301" cy="1231696"/>
          </a:xfrm>
          <a:prstGeom prst="rect">
            <a:avLst/>
          </a:prstGeom>
        </p:spPr>
      </p:pic>
      <p:pic>
        <p:nvPicPr>
          <p:cNvPr id="5" name="Picture 4" descr="Person writing on notebook">
            <a:extLst>
              <a:ext uri="{FF2B5EF4-FFF2-40B4-BE49-F238E27FC236}">
                <a16:creationId xmlns:a16="http://schemas.microsoft.com/office/drawing/2014/main" id="{A37A1FB0-70C1-39A7-A80C-DFD6F03C77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4689" y="4262434"/>
            <a:ext cx="1257301" cy="1257302"/>
          </a:xfrm>
          <a:prstGeom prst="rect">
            <a:avLst/>
          </a:prstGeom>
        </p:spPr>
      </p:pic>
      <p:pic>
        <p:nvPicPr>
          <p:cNvPr id="6" name="Picture 5" descr="Person writing on notebook">
            <a:extLst>
              <a:ext uri="{FF2B5EF4-FFF2-40B4-BE49-F238E27FC236}">
                <a16:creationId xmlns:a16="http://schemas.microsoft.com/office/drawing/2014/main" id="{7C5E7DE4-5895-6755-6BF0-6E6018927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537" y="2749146"/>
            <a:ext cx="1257302" cy="1257298"/>
          </a:xfrm>
          <a:prstGeom prst="rect">
            <a:avLst/>
          </a:prstGeom>
        </p:spPr>
      </p:pic>
      <p:pic>
        <p:nvPicPr>
          <p:cNvPr id="7" name="Picture 6" descr="Person writing on notebook">
            <a:extLst>
              <a:ext uri="{FF2B5EF4-FFF2-40B4-BE49-F238E27FC236}">
                <a16:creationId xmlns:a16="http://schemas.microsoft.com/office/drawing/2014/main" id="{2BA7C8EC-23B6-4E5C-DB33-1349A71242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4689" y="2749148"/>
            <a:ext cx="1257300" cy="1257299"/>
          </a:xfrm>
          <a:prstGeom prst="rect">
            <a:avLst/>
          </a:prstGeom>
        </p:spPr>
      </p:pic>
      <p:pic>
        <p:nvPicPr>
          <p:cNvPr id="8" name="Picture 7" descr="Person writing on notebook">
            <a:extLst>
              <a:ext uri="{FF2B5EF4-FFF2-40B4-BE49-F238E27FC236}">
                <a16:creationId xmlns:a16="http://schemas.microsoft.com/office/drawing/2014/main" id="{3E782554-D1D7-9039-CDAB-6D14D845B8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537" y="1312662"/>
            <a:ext cx="1257302" cy="1257299"/>
          </a:xfrm>
          <a:prstGeom prst="rect">
            <a:avLst/>
          </a:prstGeom>
        </p:spPr>
      </p:pic>
      <p:pic>
        <p:nvPicPr>
          <p:cNvPr id="9" name="Picture 8" descr="Person writing on notebook">
            <a:extLst>
              <a:ext uri="{FF2B5EF4-FFF2-40B4-BE49-F238E27FC236}">
                <a16:creationId xmlns:a16="http://schemas.microsoft.com/office/drawing/2014/main" id="{EDA1DAFE-C11D-2B49-716F-AB203823C3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4689" y="1312662"/>
            <a:ext cx="1257301" cy="12572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AF5D44-D639-CCCB-44C7-156E786124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2651" y="1312663"/>
            <a:ext cx="7732034" cy="1282900"/>
          </a:xfrm>
          <a:solidFill>
            <a:schemeClr val="bg1">
              <a:alpha val="53000"/>
            </a:schemeClr>
          </a:solidFill>
        </p:spPr>
        <p:txBody>
          <a:bodyPr lIns="457200" rIns="457200" anchor="ctr" anchorCtr="0">
            <a:noAutofit/>
          </a:bodyPr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5AB1F5-14E7-BCBA-5F70-ED0BFAEB3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0"/>
            <a:ext cx="100965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F5D85E-E874-E3F3-7516-F52DE6BBF2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294690" y="0"/>
            <a:ext cx="1257300" cy="11334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3009B4-7AA6-A4D7-EC78-A8F67F63E3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1338262"/>
            <a:ext cx="1009650" cy="12573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39A730-3BF7-D3A0-268C-DC78C91465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5662613"/>
            <a:ext cx="1009650" cy="1257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A7E7E3C-1494-4FF7-63BF-646EB2BFC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4275238"/>
            <a:ext cx="1009650" cy="1257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63A899-D4C0-4970-01B1-B984455AD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2749146"/>
            <a:ext cx="1009650" cy="12572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6529B3-F23C-468C-14E9-2943213247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761537" y="5724526"/>
            <a:ext cx="1257300" cy="11334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1AFFAE-4D86-D553-9A75-0C41BE8984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761540" y="0"/>
            <a:ext cx="1257300" cy="11334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3F2B64-6570-11BD-E018-809DF13EA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294689" y="5724526"/>
            <a:ext cx="125730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4155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children and a teacher&#10;&#10;Description automatically generated">
            <a:extLst>
              <a:ext uri="{FF2B5EF4-FFF2-40B4-BE49-F238E27FC236}">
                <a16:creationId xmlns:a16="http://schemas.microsoft.com/office/drawing/2014/main" id="{F56D9705-CED0-A768-7C39-4B6C2FD1AE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52892" y="-8542"/>
            <a:ext cx="8039108" cy="6896634"/>
          </a:xfrm>
          <a:prstGeom prst="rect">
            <a:avLst/>
          </a:prstGeom>
        </p:spPr>
      </p:pic>
      <p:pic>
        <p:nvPicPr>
          <p:cNvPr id="5" name="Picture 4" descr="A group of children and a teacher&#10;&#10;Description automatically generated">
            <a:extLst>
              <a:ext uri="{FF2B5EF4-FFF2-40B4-BE49-F238E27FC236}">
                <a16:creationId xmlns:a16="http://schemas.microsoft.com/office/drawing/2014/main" id="{E472B7F6-B786-1F43-B465-796240B23C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6044" y="4262432"/>
            <a:ext cx="1257302" cy="1257302"/>
          </a:xfrm>
          <a:prstGeom prst="rect">
            <a:avLst/>
          </a:prstGeom>
        </p:spPr>
      </p:pic>
      <p:pic>
        <p:nvPicPr>
          <p:cNvPr id="6" name="Picture 5" descr="A group of children and a teacher&#10;&#10;Description automatically generated">
            <a:extLst>
              <a:ext uri="{FF2B5EF4-FFF2-40B4-BE49-F238E27FC236}">
                <a16:creationId xmlns:a16="http://schemas.microsoft.com/office/drawing/2014/main" id="{AB7B02EF-2F3D-E093-5F67-5912A2079D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9194" y="4262424"/>
            <a:ext cx="1257304" cy="1257310"/>
          </a:xfrm>
          <a:prstGeom prst="rect">
            <a:avLst/>
          </a:prstGeom>
        </p:spPr>
      </p:pic>
      <p:pic>
        <p:nvPicPr>
          <p:cNvPr id="7" name="Picture 6" descr="A group of children and a teacher&#10;&#10;Description automatically generated">
            <a:extLst>
              <a:ext uri="{FF2B5EF4-FFF2-40B4-BE49-F238E27FC236}">
                <a16:creationId xmlns:a16="http://schemas.microsoft.com/office/drawing/2014/main" id="{0F54E0AB-7557-6872-63D9-707C4CF41B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9198" y="2800344"/>
            <a:ext cx="1257300" cy="1257298"/>
          </a:xfrm>
          <a:prstGeom prst="rect">
            <a:avLst/>
          </a:prstGeom>
        </p:spPr>
      </p:pic>
      <p:pic>
        <p:nvPicPr>
          <p:cNvPr id="8" name="Picture 7" descr="A group of children and a teacher&#10;&#10;Description automatically generated">
            <a:extLst>
              <a:ext uri="{FF2B5EF4-FFF2-40B4-BE49-F238E27FC236}">
                <a16:creationId xmlns:a16="http://schemas.microsoft.com/office/drawing/2014/main" id="{C258F41E-5989-A478-4A93-26B33449B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6046" y="1338260"/>
            <a:ext cx="1257300" cy="1257292"/>
          </a:xfrm>
          <a:prstGeom prst="rect">
            <a:avLst/>
          </a:prstGeom>
        </p:spPr>
      </p:pic>
      <p:pic>
        <p:nvPicPr>
          <p:cNvPr id="9" name="Picture 8" descr="A group of children and a teacher&#10;&#10;Description automatically generated">
            <a:extLst>
              <a:ext uri="{FF2B5EF4-FFF2-40B4-BE49-F238E27FC236}">
                <a16:creationId xmlns:a16="http://schemas.microsoft.com/office/drawing/2014/main" id="{C49C1EC2-8D71-9CB5-4736-A7307635C5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9198" y="1338260"/>
            <a:ext cx="1257300" cy="1257298"/>
          </a:xfrm>
          <a:prstGeom prst="rect">
            <a:avLst/>
          </a:prstGeom>
        </p:spPr>
      </p:pic>
      <p:pic>
        <p:nvPicPr>
          <p:cNvPr id="4" name="Picture 3" descr="A group of children and a teacher&#10;&#10;Description automatically generated">
            <a:extLst>
              <a:ext uri="{FF2B5EF4-FFF2-40B4-BE49-F238E27FC236}">
                <a16:creationId xmlns:a16="http://schemas.microsoft.com/office/drawing/2014/main" id="{31AA0DF5-3C1F-83F8-0E1B-E95966C54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6044" y="2800344"/>
            <a:ext cx="1257302" cy="12572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AF5D44-D639-CCCB-44C7-156E78612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3347" y="4262424"/>
            <a:ext cx="7818668" cy="1257302"/>
          </a:xfrm>
          <a:solidFill>
            <a:schemeClr val="bg1">
              <a:alpha val="70000"/>
            </a:schemeClr>
          </a:solidFill>
        </p:spPr>
        <p:txBody>
          <a:bodyPr lIns="457200" rIns="457200" anchor="ctr">
            <a:noAutofit/>
          </a:bodyPr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5AB1F5-14E7-BCBA-5F70-ED0BFAEB3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00965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F5D85E-E874-E3F3-7516-F52DE6BBF2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200" y="0"/>
            <a:ext cx="1257300" cy="11334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3009B4-7AA6-A4D7-EC78-A8F67F63E3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338262"/>
            <a:ext cx="1009650" cy="12573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39A730-3BF7-D3A0-268C-DC78C91465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800350"/>
            <a:ext cx="1009650" cy="1257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A7E7E3C-1494-4FF7-63BF-646EB2BFC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262438"/>
            <a:ext cx="1009650" cy="1257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63A899-D4C0-4970-01B1-B984455AD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724526"/>
            <a:ext cx="1009650" cy="11334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6529B3-F23C-468C-14E9-2943213247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219200" y="5724526"/>
            <a:ext cx="1257300" cy="11334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1AFFAE-4D86-D553-9A75-0C41BE8984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6050" y="0"/>
            <a:ext cx="1257300" cy="11334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3F2B64-6570-11BD-E018-809DF13EA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686050" y="5724526"/>
            <a:ext cx="125730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9952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+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C9E8904-0136-685D-B93D-9A5A632B76F0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F7F577-D0FD-0049-3E7B-D46BE2C5E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7792"/>
            <a:ext cx="9219169" cy="78753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7059954F-EEFA-4DC0-8275-C48E80E83615}"/>
              </a:ext>
            </a:extLst>
          </p:cNvPr>
          <p:cNvSpPr/>
          <p:nvPr userDrawn="1"/>
        </p:nvSpPr>
        <p:spPr>
          <a:xfrm rot="5400000">
            <a:off x="4279069" y="3696872"/>
            <a:ext cx="985911" cy="60491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7DBBAC-5AC1-CDD6-9403-E06C08A73F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9100" y="1362075"/>
            <a:ext cx="4248150" cy="5151438"/>
          </a:xfrm>
          <a:solidFill>
            <a:schemeClr val="accent1"/>
          </a:solidFill>
        </p:spPr>
        <p:txBody>
          <a:bodyPr lIns="365760" rIns="274320" anchor="ctr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8AE886-96A2-4116-A4A2-846D4ECCA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8" y="1362658"/>
            <a:ext cx="6589712" cy="5150684"/>
          </a:xfrm>
          <a:ln>
            <a:solidFill>
              <a:schemeClr val="accent1"/>
            </a:solidFill>
          </a:ln>
        </p:spPr>
        <p:txBody>
          <a:bodyPr lIns="182880" tIns="182880" rIns="182880" bIns="182880"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0D7554-0848-4241-9D65-61693530A1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07A3E75-62DD-E95F-8A1E-448C27B7CAE9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9043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418D-15F1-4236-86D3-6539C675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6B6B5-BC8C-433B-81B9-9C57FABEB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8FAA-4420-4285-8D95-A050BC749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C59C6-696E-4645-BF2F-2A33B0C2E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5A9AF-AD14-4EF5-B3BC-132EE02F7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609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418D-15F1-4236-86D3-6539C675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6B6B5-BC8C-433B-81B9-9C57FABEB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8FAA-4420-4285-8D95-A050BC749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C59C6-696E-4645-BF2F-2A33B0C2E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5A9AF-AD14-4EF5-B3BC-132EE02F7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3879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D06D-DA63-4DDC-82A9-6354941E7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EDF4B1-44D8-438C-A0D2-5E50A2270D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9393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63605E-63A3-44EF-8FE0-D7C81552DE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81572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7BA6D-103A-4630-B671-67CDA59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AB32-BE43-4FB9-9458-D139DB5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5EDC1-6DD2-47C3-AD8C-9CFFD202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1193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79015-6037-42AB-A911-E14A4A51C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70" y="262444"/>
            <a:ext cx="9188155" cy="79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5E1D-5246-4BD8-9B82-F25D6124E4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3045" y="1459502"/>
            <a:ext cx="5157787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E0532D-3DCA-435E-87F8-906FA800E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045" y="2487168"/>
            <a:ext cx="5157787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0139B-3F01-4FDB-BA7A-CD6796ECA1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9712" y="1459502"/>
            <a:ext cx="5183188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0BAEC4-DE7C-4193-B9FA-D5FE8DCA65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9712" y="2487168"/>
            <a:ext cx="5183188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E2A867-B7F9-400F-B53F-72E20DC48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33E19-47CE-4A9D-9597-EBC712FBC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C1FDE4-045D-4151-A400-75E6F6485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5A145B-F29E-006D-1556-1F96678A7A0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59502"/>
            <a:ext cx="0" cy="4636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45120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38DD-6B59-4B23-BB8D-81BFC8885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1ECD42-B28C-4148-898C-0C0A605C8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4CAD1-3CCD-44D3-9310-1D604CEB5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27571-686F-4B4E-8694-A351E868E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2491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C49F7-5585-466E-BE9D-CCDD8DAAF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4" y="262446"/>
            <a:ext cx="9201806" cy="801008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58B9A1-4D59-49B1-B440-BEF63D65E06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9394" y="1397726"/>
            <a:ext cx="4372631" cy="4471262"/>
          </a:xfrm>
        </p:spPr>
        <p:txBody>
          <a:bodyPr lIns="457200" rIns="457200"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0E7228-DC76-4CB7-9466-801F41C70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1397726"/>
            <a:ext cx="6589712" cy="4463324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image, graph, or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CD48F-F4F3-4AC1-A88D-544CC48B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B3B703-D169-47A2-9C33-436FBCF3D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F87DB5-9556-4540-80A2-A057C8725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234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A201C1F-E6EE-4340-9240-7B745C4CE2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"/>
            <a:ext cx="12192000" cy="68578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E8568D-A3F8-FEE7-436C-8A1572170AE8}"/>
              </a:ext>
            </a:extLst>
          </p:cNvPr>
          <p:cNvSpPr/>
          <p:nvPr userDrawn="1"/>
        </p:nvSpPr>
        <p:spPr>
          <a:xfrm>
            <a:off x="-2" y="3920093"/>
            <a:ext cx="8458201" cy="994808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52066B-5262-4430-9A20-1E4EFCBFE795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2547C-9364-4CB3-9314-3443C5296A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9393" y="2154054"/>
            <a:ext cx="7116976" cy="1528947"/>
          </a:xfrm>
        </p:spPr>
        <p:txBody>
          <a:bodyPr anchor="b">
            <a:normAutofit/>
          </a:bodyPr>
          <a:lstStyle>
            <a:lvl1pPr algn="l">
              <a:defRPr sz="80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C782A2-87E1-450A-BEF1-E4B519465D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9393" y="4015342"/>
            <a:ext cx="7116976" cy="757826"/>
          </a:xfrm>
        </p:spPr>
        <p:txBody>
          <a:bodyPr>
            <a:noAutofit/>
          </a:bodyPr>
          <a:lstStyle>
            <a:lvl1pPr marL="0" indent="0" algn="l">
              <a:buNone/>
              <a:defRPr sz="2400" spc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ease take our quick 5 minute survey to let us know how we can improve this presentation in the futu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18CF2DD-3672-452A-AF90-3B5E374B711C}"/>
              </a:ext>
            </a:extLst>
          </p:cNvPr>
          <p:cNvCxnSpPr>
            <a:cxnSpLocks/>
          </p:cNvCxnSpPr>
          <p:nvPr userDrawn="1"/>
        </p:nvCxnSpPr>
        <p:spPr>
          <a:xfrm>
            <a:off x="548640" y="3683001"/>
            <a:ext cx="49194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0955D47-20DA-E00E-E1F2-7F0DC3D813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45371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418D-15F1-4236-86D3-6539C675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6B6B5-BC8C-433B-81B9-9C57FABEB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8FAA-4420-4285-8D95-A050BC749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C59C6-696E-4645-BF2F-2A33B0C2E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5A9AF-AD14-4EF5-B3BC-132EE02F7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7089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D06D-DA63-4DDC-82A9-6354941E7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EDF4B1-44D8-438C-A0D2-5E50A2270D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9393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63605E-63A3-44EF-8FE0-D7C81552DE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81572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7BA6D-103A-4630-B671-67CDA59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AB32-BE43-4FB9-9458-D139DB5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5EDC1-6DD2-47C3-AD8C-9CFFD202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7684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79015-6037-42AB-A911-E14A4A51C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70" y="262444"/>
            <a:ext cx="9188155" cy="79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5E1D-5246-4BD8-9B82-F25D6124E4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3045" y="1459502"/>
            <a:ext cx="5157787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E0532D-3DCA-435E-87F8-906FA800E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045" y="2487168"/>
            <a:ext cx="5157787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0139B-3F01-4FDB-BA7A-CD6796ECA1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9712" y="1459502"/>
            <a:ext cx="5183188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0BAEC4-DE7C-4193-B9FA-D5FE8DCA65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9712" y="2487168"/>
            <a:ext cx="5183188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E2A867-B7F9-400F-B53F-72E20DC48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33E19-47CE-4A9D-9597-EBC712FBC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C1FDE4-045D-4151-A400-75E6F6485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5A145B-F29E-006D-1556-1F96678A7A0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59502"/>
            <a:ext cx="0" cy="4636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87752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38DD-6B59-4B23-BB8D-81BFC8885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1ECD42-B28C-4148-898C-0C0A605C8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4CAD1-3CCD-44D3-9310-1D604CEB5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27571-686F-4B4E-8694-A351E868E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211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C49F7-5585-466E-BE9D-CCDD8DAAF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4" y="262446"/>
            <a:ext cx="9201806" cy="801008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58B9A1-4D59-49B1-B440-BEF63D65E06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9394" y="1397726"/>
            <a:ext cx="4372631" cy="4471262"/>
          </a:xfrm>
        </p:spPr>
        <p:txBody>
          <a:bodyPr lIns="457200" rIns="457200"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0E7228-DC76-4CB7-9466-801F41C70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1397726"/>
            <a:ext cx="6589712" cy="4463324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image, graph, or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CD48F-F4F3-4AC1-A88D-544CC48B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B3B703-D169-47A2-9C33-436FBCF3D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F87DB5-9556-4540-80A2-A057C8725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5846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D06D-DA63-4DDC-82A9-6354941E7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4294DEE-7E53-B288-B730-B6FF616B71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9393" y="1535168"/>
            <a:ext cx="5181600" cy="4351337"/>
          </a:xfrm>
        </p:spPr>
        <p:txBody>
          <a:bodyPr anchor="ctr"/>
          <a:lstStyle>
            <a:lvl1pPr algn="l">
              <a:defRPr lang="en-US" dirty="0" smtClean="0"/>
            </a:lvl1pPr>
            <a:lvl2pPr algn="l">
              <a:defRPr lang="en-US" dirty="0" smtClean="0"/>
            </a:lvl2pPr>
            <a:lvl3pPr algn="l">
              <a:defRPr lang="en-US" dirty="0" smtClean="0"/>
            </a:lvl3pPr>
            <a:lvl4pPr algn="l">
              <a:defRPr lang="en-US" dirty="0" smtClean="0"/>
            </a:lvl4pPr>
            <a:lvl5pPr algn="l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83D5243-1485-5EB7-7CB3-993AC216F3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81572" y="1535168"/>
            <a:ext cx="5181600" cy="4351337"/>
          </a:xfrm>
        </p:spPr>
        <p:txBody>
          <a:bodyPr anchor="ctr"/>
          <a:lstStyle>
            <a:lvl1pPr algn="l">
              <a:defRPr lang="en-US" dirty="0" smtClean="0"/>
            </a:lvl1pPr>
            <a:lvl2pPr algn="l">
              <a:defRPr lang="en-US" dirty="0" smtClean="0"/>
            </a:lvl2pPr>
            <a:lvl3pPr algn="l">
              <a:defRPr lang="en-US" dirty="0" smtClean="0"/>
            </a:lvl3pPr>
            <a:lvl4pPr algn="l">
              <a:defRPr lang="en-US" dirty="0" smtClean="0"/>
            </a:lvl4pPr>
            <a:lvl5pPr algn="l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7BA6D-103A-4630-B671-67CDA59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AB32-BE43-4FB9-9458-D139DB5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5EDC1-6DD2-47C3-AD8C-9CFFD202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6472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A201C1F-E6EE-4340-9240-7B745C4CE2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"/>
            <a:ext cx="12192000" cy="68578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E8568D-A3F8-FEE7-436C-8A1572170AE8}"/>
              </a:ext>
            </a:extLst>
          </p:cNvPr>
          <p:cNvSpPr/>
          <p:nvPr userDrawn="1"/>
        </p:nvSpPr>
        <p:spPr>
          <a:xfrm>
            <a:off x="-2" y="3920093"/>
            <a:ext cx="8458201" cy="994808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52066B-5262-4430-9A20-1E4EFCBFE795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2547C-9364-4CB3-9314-3443C5296A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9393" y="2154054"/>
            <a:ext cx="7116976" cy="1528947"/>
          </a:xfrm>
        </p:spPr>
        <p:txBody>
          <a:bodyPr anchor="b">
            <a:normAutofit/>
          </a:bodyPr>
          <a:lstStyle>
            <a:lvl1pPr algn="l">
              <a:defRPr sz="80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C782A2-87E1-450A-BEF1-E4B519465D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9393" y="4015342"/>
            <a:ext cx="7116976" cy="757826"/>
          </a:xfrm>
        </p:spPr>
        <p:txBody>
          <a:bodyPr>
            <a:noAutofit/>
          </a:bodyPr>
          <a:lstStyle>
            <a:lvl1pPr marL="0" indent="0" algn="l">
              <a:buNone/>
              <a:defRPr sz="2400" spc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ease take our quick 5 minute survey to let us know how we can improve this presentation in the futu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18CF2DD-3672-452A-AF90-3B5E374B711C}"/>
              </a:ext>
            </a:extLst>
          </p:cNvPr>
          <p:cNvCxnSpPr>
            <a:cxnSpLocks/>
          </p:cNvCxnSpPr>
          <p:nvPr userDrawn="1"/>
        </p:nvCxnSpPr>
        <p:spPr>
          <a:xfrm>
            <a:off x="548640" y="3683001"/>
            <a:ext cx="49194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0955D47-20DA-E00E-E1F2-7F0DC3D813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7517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+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C9E8904-0136-685D-B93D-9A5A632B76F0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F7F577-D0FD-0049-3E7B-D46BE2C5E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7792"/>
            <a:ext cx="9219169" cy="78753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7059954F-EEFA-4DC0-8275-C48E80E83615}"/>
              </a:ext>
            </a:extLst>
          </p:cNvPr>
          <p:cNvSpPr/>
          <p:nvPr userDrawn="1"/>
        </p:nvSpPr>
        <p:spPr>
          <a:xfrm rot="5400000">
            <a:off x="4279069" y="3696872"/>
            <a:ext cx="985911" cy="60491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7DBBAC-5AC1-CDD6-9403-E06C08A73F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9100" y="1362075"/>
            <a:ext cx="4248150" cy="5151438"/>
          </a:xfrm>
          <a:solidFill>
            <a:schemeClr val="accent1"/>
          </a:solidFill>
        </p:spPr>
        <p:txBody>
          <a:bodyPr lIns="365760" rIns="274320" anchor="ctr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8AE886-96A2-4116-A4A2-846D4ECCA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8" y="1362658"/>
            <a:ext cx="6589712" cy="5150684"/>
          </a:xfrm>
          <a:ln>
            <a:solidFill>
              <a:schemeClr val="accent1"/>
            </a:solidFill>
          </a:ln>
        </p:spPr>
        <p:txBody>
          <a:bodyPr lIns="182880" tIns="182880" rIns="182880" bIns="182880"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0D7554-0848-4241-9D65-61693530A1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07A3E75-62DD-E95F-8A1E-448C27B7CAE9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0770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418D-15F1-4236-86D3-6539C675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6B6B5-BC8C-433B-81B9-9C57FABEB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8FAA-4420-4285-8D95-A050BC749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C59C6-696E-4645-BF2F-2A33B0C2E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5A9AF-AD14-4EF5-B3BC-132EE02F7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98710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D06D-DA63-4DDC-82A9-6354941E7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EDF4B1-44D8-438C-A0D2-5E50A2270D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9393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63605E-63A3-44EF-8FE0-D7C81552DE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81572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7BA6D-103A-4630-B671-67CDA59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AB32-BE43-4FB9-9458-D139DB5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5EDC1-6DD2-47C3-AD8C-9CFFD202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8703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79015-6037-42AB-A911-E14A4A51C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70" y="262444"/>
            <a:ext cx="9188155" cy="79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5E1D-5246-4BD8-9B82-F25D6124E4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3045" y="1459502"/>
            <a:ext cx="5157787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E0532D-3DCA-435E-87F8-906FA800E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045" y="2487168"/>
            <a:ext cx="5157787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0139B-3F01-4FDB-BA7A-CD6796ECA1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9712" y="1459502"/>
            <a:ext cx="5183188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0BAEC4-DE7C-4193-B9FA-D5FE8DCA65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9712" y="2487168"/>
            <a:ext cx="5183188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E2A867-B7F9-400F-B53F-72E20DC48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33E19-47CE-4A9D-9597-EBC712FBC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C1FDE4-045D-4151-A400-75E6F6485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5A145B-F29E-006D-1556-1F96678A7A0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59502"/>
            <a:ext cx="0" cy="4636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14918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38DD-6B59-4B23-BB8D-81BFC8885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1ECD42-B28C-4148-898C-0C0A605C8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4CAD1-3CCD-44D3-9310-1D604CEB5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27571-686F-4B4E-8694-A351E868E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818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C49F7-5585-466E-BE9D-CCDD8DAAF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4" y="262446"/>
            <a:ext cx="9201806" cy="801008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58B9A1-4D59-49B1-B440-BEF63D65E06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9394" y="1397726"/>
            <a:ext cx="4372631" cy="4471262"/>
          </a:xfrm>
        </p:spPr>
        <p:txBody>
          <a:bodyPr lIns="457200" rIns="457200"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0E7228-DC76-4CB7-9466-801F41C70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1397726"/>
            <a:ext cx="6589712" cy="4463324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image, graph, or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CD48F-F4F3-4AC1-A88D-544CC48B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B3B703-D169-47A2-9C33-436FBCF3D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F87DB5-9556-4540-80A2-A057C8725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5766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A201C1F-E6EE-4340-9240-7B745C4CE2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"/>
            <a:ext cx="12192000" cy="68578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E8568D-A3F8-FEE7-436C-8A1572170AE8}"/>
              </a:ext>
            </a:extLst>
          </p:cNvPr>
          <p:cNvSpPr/>
          <p:nvPr userDrawn="1"/>
        </p:nvSpPr>
        <p:spPr>
          <a:xfrm>
            <a:off x="-2" y="3920093"/>
            <a:ext cx="8458201" cy="994808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52066B-5262-4430-9A20-1E4EFCBFE795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2547C-9364-4CB3-9314-3443C5296A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9393" y="2154054"/>
            <a:ext cx="7116976" cy="1528947"/>
          </a:xfrm>
        </p:spPr>
        <p:txBody>
          <a:bodyPr anchor="b">
            <a:normAutofit/>
          </a:bodyPr>
          <a:lstStyle>
            <a:lvl1pPr algn="l">
              <a:defRPr sz="80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C782A2-87E1-450A-BEF1-E4B519465D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9393" y="4015342"/>
            <a:ext cx="7116976" cy="757826"/>
          </a:xfrm>
        </p:spPr>
        <p:txBody>
          <a:bodyPr>
            <a:noAutofit/>
          </a:bodyPr>
          <a:lstStyle>
            <a:lvl1pPr marL="0" indent="0" algn="l">
              <a:buNone/>
              <a:defRPr sz="2400" spc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ease take our quick 5 minute survey to let us know how we can improve this presentation in the futu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18CF2DD-3672-452A-AF90-3B5E374B711C}"/>
              </a:ext>
            </a:extLst>
          </p:cNvPr>
          <p:cNvCxnSpPr>
            <a:cxnSpLocks/>
          </p:cNvCxnSpPr>
          <p:nvPr userDrawn="1"/>
        </p:nvCxnSpPr>
        <p:spPr>
          <a:xfrm>
            <a:off x="548640" y="3683001"/>
            <a:ext cx="49194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0955D47-20DA-E00E-E1F2-7F0DC3D813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2485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+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C9E8904-0136-685D-B93D-9A5A632B76F0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F7F577-D0FD-0049-3E7B-D46BE2C5E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7792"/>
            <a:ext cx="9219169" cy="78753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7059954F-EEFA-4DC0-8275-C48E80E83615}"/>
              </a:ext>
            </a:extLst>
          </p:cNvPr>
          <p:cNvSpPr/>
          <p:nvPr userDrawn="1"/>
        </p:nvSpPr>
        <p:spPr>
          <a:xfrm rot="5400000">
            <a:off x="4279069" y="3696872"/>
            <a:ext cx="985911" cy="60491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7DBBAC-5AC1-CDD6-9403-E06C08A73F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9100" y="1362075"/>
            <a:ext cx="4248150" cy="5151438"/>
          </a:xfrm>
          <a:solidFill>
            <a:schemeClr val="accent1"/>
          </a:solidFill>
        </p:spPr>
        <p:txBody>
          <a:bodyPr lIns="365760" rIns="27432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8AE886-96A2-4116-A4A2-846D4ECCA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8" y="1362658"/>
            <a:ext cx="6589712" cy="5150684"/>
          </a:xfrm>
          <a:ln>
            <a:solidFill>
              <a:schemeClr val="accent1"/>
            </a:solidFill>
          </a:ln>
        </p:spPr>
        <p:txBody>
          <a:bodyPr lIns="182880" tIns="182880" rIns="182880" bIns="182880" anchor="ctr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0D7554-0848-4241-9D65-61693530A1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07A3E75-62DD-E95F-8A1E-448C27B7CAE9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4544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rv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erson writing on notebook">
            <a:extLst>
              <a:ext uri="{FF2B5EF4-FFF2-40B4-BE49-F238E27FC236}">
                <a16:creationId xmlns:a16="http://schemas.microsoft.com/office/drawing/2014/main" id="{782E93BA-CFC5-8CC1-1F8F-4C7D456A96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8085139" cy="6858000"/>
          </a:xfrm>
          <a:prstGeom prst="rect">
            <a:avLst/>
          </a:prstGeom>
        </p:spPr>
      </p:pic>
      <p:pic>
        <p:nvPicPr>
          <p:cNvPr id="4" name="Picture 3" descr="Person writing on notebook">
            <a:extLst>
              <a:ext uri="{FF2B5EF4-FFF2-40B4-BE49-F238E27FC236}">
                <a16:creationId xmlns:a16="http://schemas.microsoft.com/office/drawing/2014/main" id="{FFDDC1BA-C2EF-D839-B25F-73510621F2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537" y="4288040"/>
            <a:ext cx="1257301" cy="1231696"/>
          </a:xfrm>
          <a:prstGeom prst="rect">
            <a:avLst/>
          </a:prstGeom>
        </p:spPr>
      </p:pic>
      <p:pic>
        <p:nvPicPr>
          <p:cNvPr id="5" name="Picture 4" descr="Person writing on notebook">
            <a:extLst>
              <a:ext uri="{FF2B5EF4-FFF2-40B4-BE49-F238E27FC236}">
                <a16:creationId xmlns:a16="http://schemas.microsoft.com/office/drawing/2014/main" id="{A37A1FB0-70C1-39A7-A80C-DFD6F03C77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4689" y="4262434"/>
            <a:ext cx="1257301" cy="1257302"/>
          </a:xfrm>
          <a:prstGeom prst="rect">
            <a:avLst/>
          </a:prstGeom>
        </p:spPr>
      </p:pic>
      <p:pic>
        <p:nvPicPr>
          <p:cNvPr id="6" name="Picture 5" descr="Person writing on notebook">
            <a:extLst>
              <a:ext uri="{FF2B5EF4-FFF2-40B4-BE49-F238E27FC236}">
                <a16:creationId xmlns:a16="http://schemas.microsoft.com/office/drawing/2014/main" id="{7C5E7DE4-5895-6755-6BF0-6E6018927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537" y="2749146"/>
            <a:ext cx="1257302" cy="1257298"/>
          </a:xfrm>
          <a:prstGeom prst="rect">
            <a:avLst/>
          </a:prstGeom>
        </p:spPr>
      </p:pic>
      <p:pic>
        <p:nvPicPr>
          <p:cNvPr id="7" name="Picture 6" descr="Person writing on notebook">
            <a:extLst>
              <a:ext uri="{FF2B5EF4-FFF2-40B4-BE49-F238E27FC236}">
                <a16:creationId xmlns:a16="http://schemas.microsoft.com/office/drawing/2014/main" id="{2BA7C8EC-23B6-4E5C-DB33-1349A71242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4689" y="2749148"/>
            <a:ext cx="1257300" cy="1257299"/>
          </a:xfrm>
          <a:prstGeom prst="rect">
            <a:avLst/>
          </a:prstGeom>
        </p:spPr>
      </p:pic>
      <p:pic>
        <p:nvPicPr>
          <p:cNvPr id="8" name="Picture 7" descr="Person writing on notebook">
            <a:extLst>
              <a:ext uri="{FF2B5EF4-FFF2-40B4-BE49-F238E27FC236}">
                <a16:creationId xmlns:a16="http://schemas.microsoft.com/office/drawing/2014/main" id="{3E782554-D1D7-9039-CDAB-6D14D845B8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1537" y="1312662"/>
            <a:ext cx="1257302" cy="1257299"/>
          </a:xfrm>
          <a:prstGeom prst="rect">
            <a:avLst/>
          </a:prstGeom>
        </p:spPr>
      </p:pic>
      <p:pic>
        <p:nvPicPr>
          <p:cNvPr id="9" name="Picture 8" descr="Person writing on notebook">
            <a:extLst>
              <a:ext uri="{FF2B5EF4-FFF2-40B4-BE49-F238E27FC236}">
                <a16:creationId xmlns:a16="http://schemas.microsoft.com/office/drawing/2014/main" id="{EDA1DAFE-C11D-2B49-716F-AB203823C3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4689" y="1312662"/>
            <a:ext cx="1257301" cy="12572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6AF5D44-D639-CCCB-44C7-156E786124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2651" y="1312663"/>
            <a:ext cx="7732034" cy="1282900"/>
          </a:xfrm>
          <a:solidFill>
            <a:schemeClr val="bg1">
              <a:alpha val="53000"/>
            </a:schemeClr>
          </a:solidFill>
        </p:spPr>
        <p:txBody>
          <a:bodyPr lIns="457200" rIns="457200" anchor="ctr" anchorCtr="0">
            <a:noAutofit/>
          </a:bodyPr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5AB1F5-14E7-BCBA-5F70-ED0BFAEB3C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0"/>
            <a:ext cx="100965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4F5D85E-E874-E3F3-7516-F52DE6BBF2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294690" y="0"/>
            <a:ext cx="1257300" cy="11334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13009B4-7AA6-A4D7-EC78-A8F67F63E3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1338262"/>
            <a:ext cx="1009650" cy="12573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39A730-3BF7-D3A0-268C-DC78C91465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5662613"/>
            <a:ext cx="1009650" cy="12573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A7E7E3C-1494-4FF7-63BF-646EB2BFC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4275238"/>
            <a:ext cx="1009650" cy="12573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863A899-D4C0-4970-01B1-B984455AD1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1182350" y="2749146"/>
            <a:ext cx="1009650" cy="125729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6529B3-F23C-468C-14E9-2943213247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761537" y="5724526"/>
            <a:ext cx="1257300" cy="11334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1AFFAE-4D86-D553-9A75-0C41BE8984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761540" y="0"/>
            <a:ext cx="1257300" cy="11334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C3F2B64-6570-11BD-E018-809DF13EA8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294689" y="5724526"/>
            <a:ext cx="1257300" cy="1133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671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79015-6037-42AB-A911-E14A4A51C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70" y="262444"/>
            <a:ext cx="9188155" cy="79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5E1D-5246-4BD8-9B82-F25D6124E4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3045" y="1459502"/>
            <a:ext cx="5157787" cy="823912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0139B-3F01-4FDB-BA7A-CD6796ECA1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9712" y="1459502"/>
            <a:ext cx="5183188" cy="823912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E2A867-B7F9-400F-B53F-72E20DC48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33E19-47CE-4A9D-9597-EBC712FBC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C1FDE4-045D-4151-A400-75E6F6485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5A145B-F29E-006D-1556-1F96678A7A0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59502"/>
            <a:ext cx="0" cy="4636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B97350-CB5E-57CE-30F6-80DE41BACA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0049" y="2487168"/>
            <a:ext cx="5221287" cy="3480245"/>
          </a:xfr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3592C20-541F-B723-3084-86DF473420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0662" y="2487168"/>
            <a:ext cx="5202238" cy="3480245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1322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A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raising their hands&#10;&#10;Description automatically generated with medium confidence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 descr="A teacher teaching her students&#10;&#10;Description automatically generated with low confidence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523" r="9266"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40613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9479"/>
            <a:ext cx="9144000" cy="5857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9634399-321C-463E-B129-6E425AD68658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890E8C4-E9D9-181C-2D28-68A183C255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1507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M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30222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09088"/>
            <a:ext cx="9144000" cy="5857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0862061-731B-8167-54E6-E744ACB4227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6011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40613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9479"/>
            <a:ext cx="9144000" cy="5857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B7CB8E8-4F59-27E5-41EA-F11F5852973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9051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529" r="17529"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40613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9479"/>
            <a:ext cx="9144000" cy="5857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764CAB7-8A67-E328-DE4D-CEF29A3141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20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nding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38046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6912"/>
            <a:ext cx="9144000" cy="5857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4AF8AA-99EB-56B3-6E08-9C1E55962BC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32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+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C9E8904-0136-685D-B93D-9A5A632B76F0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F7F577-D0FD-0049-3E7B-D46BE2C5E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7792"/>
            <a:ext cx="9219169" cy="78753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7059954F-EEFA-4DC0-8275-C48E80E83615}"/>
              </a:ext>
            </a:extLst>
          </p:cNvPr>
          <p:cNvSpPr/>
          <p:nvPr userDrawn="1"/>
        </p:nvSpPr>
        <p:spPr>
          <a:xfrm rot="5400000">
            <a:off x="4279069" y="3696872"/>
            <a:ext cx="985911" cy="60491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7DBBAC-5AC1-CDD6-9403-E06C08A73F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9100" y="1362075"/>
            <a:ext cx="4248150" cy="5151438"/>
          </a:xfrm>
          <a:solidFill>
            <a:schemeClr val="accent1"/>
          </a:solidFill>
        </p:spPr>
        <p:txBody>
          <a:bodyPr lIns="365760" rIns="274320" anchor="ctr"/>
          <a:lstStyle>
            <a:lvl1pPr marL="0" indent="0" algn="l"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8AE886-96A2-4116-A4A2-846D4ECCA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8" y="1362658"/>
            <a:ext cx="6589712" cy="5150684"/>
          </a:xfrm>
          <a:ln>
            <a:solidFill>
              <a:schemeClr val="accent1"/>
            </a:solidFill>
          </a:ln>
        </p:spPr>
        <p:txBody>
          <a:bodyPr lIns="182880" tIns="182880" rIns="182880" bIns="182880" anchor="ctr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0D7554-0848-4241-9D65-61693530A1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07A3E75-62DD-E95F-8A1E-448C27B7CAE9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958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418D-15F1-4236-86D3-6539C675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6B6B5-BC8C-433B-81B9-9C57FABEB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8FAA-4420-4285-8D95-A050BC749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C59C6-696E-4645-BF2F-2A33B0C2E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5A9AF-AD14-4EF5-B3BC-132EE02F7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07164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D06D-DA63-4DDC-82A9-6354941E7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EDF4B1-44D8-438C-A0D2-5E50A2270D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9393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63605E-63A3-44EF-8FE0-D7C81552DE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81572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7BA6D-103A-4630-B671-67CDA59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AB32-BE43-4FB9-9458-D139DB5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5EDC1-6DD2-47C3-AD8C-9CFFD202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3671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79015-6037-42AB-A911-E14A4A51C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70" y="262444"/>
            <a:ext cx="9188155" cy="79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5E1D-5246-4BD8-9B82-F25D6124E4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3045" y="1459502"/>
            <a:ext cx="5157787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E0532D-3DCA-435E-87F8-906FA800E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045" y="2487168"/>
            <a:ext cx="5157787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0139B-3F01-4FDB-BA7A-CD6796ECA1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9712" y="1459502"/>
            <a:ext cx="5183188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0BAEC4-DE7C-4193-B9FA-D5FE8DCA65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9712" y="2487168"/>
            <a:ext cx="5183188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E2A867-B7F9-400F-B53F-72E20DC48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33E19-47CE-4A9D-9597-EBC712FBC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C1FDE4-045D-4151-A400-75E6F6485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5A145B-F29E-006D-1556-1F96678A7A0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59502"/>
            <a:ext cx="0" cy="4636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56088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38DD-6B59-4B23-BB8D-81BFC8885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1ECD42-B28C-4148-898C-0C0A605C8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4CAD1-3CCD-44D3-9310-1D604CEB5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27571-686F-4B4E-8694-A351E868E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6623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38DD-6B59-4B23-BB8D-81BFC8885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1ECD42-B28C-4148-898C-0C0A605C8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4CAD1-3CCD-44D3-9310-1D604CEB5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27571-686F-4B4E-8694-A351E868E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69601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C49F7-5585-466E-BE9D-CCDD8DAAF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4" y="262446"/>
            <a:ext cx="9201806" cy="801008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58B9A1-4D59-49B1-B440-BEF63D65E06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9394" y="1397726"/>
            <a:ext cx="4372631" cy="4471262"/>
          </a:xfrm>
        </p:spPr>
        <p:txBody>
          <a:bodyPr lIns="457200" rIns="457200" anchor="ctr">
            <a:normAutofit/>
          </a:bodyPr>
          <a:lstStyle>
            <a:lvl1pPr marL="0" indent="0" algn="ctr">
              <a:lnSpc>
                <a:spcPct val="15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0E7228-DC76-4CB7-9466-801F41C70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1397726"/>
            <a:ext cx="6589712" cy="4463324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image, graph, or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CD48F-F4F3-4AC1-A88D-544CC48B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B3B703-D169-47A2-9C33-436FBCF3D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F87DB5-9556-4540-80A2-A057C8725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7820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A201C1F-E6EE-4340-9240-7B745C4CE2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5"/>
            <a:ext cx="12192000" cy="68578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2E8568D-A3F8-FEE7-436C-8A1572170AE8}"/>
              </a:ext>
            </a:extLst>
          </p:cNvPr>
          <p:cNvSpPr/>
          <p:nvPr userDrawn="1"/>
        </p:nvSpPr>
        <p:spPr>
          <a:xfrm>
            <a:off x="-2" y="3920093"/>
            <a:ext cx="8458201" cy="994808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352066B-5262-4430-9A20-1E4EFCBFE795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D2547C-9364-4CB3-9314-3443C5296A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9393" y="2154054"/>
            <a:ext cx="7116976" cy="1528947"/>
          </a:xfrm>
        </p:spPr>
        <p:txBody>
          <a:bodyPr anchor="b">
            <a:normAutofit/>
          </a:bodyPr>
          <a:lstStyle>
            <a:lvl1pPr algn="l">
              <a:defRPr sz="8000"/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C782A2-87E1-450A-BEF1-E4B519465D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9393" y="4015342"/>
            <a:ext cx="7116976" cy="757826"/>
          </a:xfrm>
        </p:spPr>
        <p:txBody>
          <a:bodyPr>
            <a:noAutofit/>
          </a:bodyPr>
          <a:lstStyle>
            <a:lvl1pPr marL="0" indent="0" algn="l">
              <a:buNone/>
              <a:defRPr sz="2400" spc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ease take our quick 5 minute survey to let us know how we can improve this presentation in the futu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18CF2DD-3672-452A-AF90-3B5E374B711C}"/>
              </a:ext>
            </a:extLst>
          </p:cNvPr>
          <p:cNvCxnSpPr>
            <a:cxnSpLocks/>
          </p:cNvCxnSpPr>
          <p:nvPr userDrawn="1"/>
        </p:nvCxnSpPr>
        <p:spPr>
          <a:xfrm>
            <a:off x="548640" y="3683001"/>
            <a:ext cx="49194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0955D47-20DA-E00E-E1F2-7F0DC3D813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0104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Graph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21E5F99B-3B11-42A5-83FA-BC880ACED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83" y="277014"/>
            <a:ext cx="11129962" cy="6269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8DCCD1-88A3-4711-95B8-9B319F728A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047747" y="5378116"/>
            <a:ext cx="3144253" cy="1070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AF20B1-191E-45E2-A196-79BA74819CC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20700" y="1179513"/>
            <a:ext cx="11150245" cy="5173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47169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(Format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097" y="153230"/>
            <a:ext cx="11342232" cy="962338"/>
          </a:xfrm>
        </p:spPr>
        <p:txBody>
          <a:bodyPr anchor="ctr">
            <a:normAutofit/>
          </a:bodyPr>
          <a:lstStyle>
            <a:lvl1pPr algn="l">
              <a:defRPr sz="38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8912" y="1310990"/>
            <a:ext cx="11329490" cy="449668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Text</a:t>
            </a:r>
          </a:p>
          <a:p>
            <a:pPr lvl="2"/>
            <a:r>
              <a:rPr lang="en-US"/>
              <a:t>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EBFA53-3D67-304C-8BAB-F461F2DE524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6E81317-0A61-417B-8DBF-8A3B355AA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0433" y="6624083"/>
            <a:ext cx="474999" cy="2339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718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B418D-15F1-4236-86D3-6539C675F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6B6B5-BC8C-433B-81B9-9C57FABEB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B78FAA-4420-4285-8D95-A050BC7499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8C59C6-696E-4645-BF2F-2A33B0C2E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15A9AF-AD14-4EF5-B3BC-132EE02F7A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9301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D06D-DA63-4DDC-82A9-6354941E7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4294DEE-7E53-B288-B730-B6FF616B71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9393" y="1535168"/>
            <a:ext cx="5181600" cy="4351337"/>
          </a:xfrm>
        </p:spPr>
        <p:txBody>
          <a:bodyPr anchor="ctr"/>
          <a:lstStyle>
            <a:lvl1pPr algn="l">
              <a:defRPr lang="en-US" dirty="0" smtClean="0"/>
            </a:lvl1pPr>
            <a:lvl2pPr algn="l">
              <a:defRPr lang="en-US" dirty="0" smtClean="0"/>
            </a:lvl2pPr>
            <a:lvl3pPr algn="l">
              <a:defRPr lang="en-US" dirty="0" smtClean="0"/>
            </a:lvl3pPr>
            <a:lvl4pPr algn="l">
              <a:defRPr lang="en-US" dirty="0" smtClean="0"/>
            </a:lvl4pPr>
            <a:lvl5pPr algn="l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83D5243-1485-5EB7-7CB3-993AC216F3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81572" y="1535168"/>
            <a:ext cx="5181600" cy="4351337"/>
          </a:xfrm>
        </p:spPr>
        <p:txBody>
          <a:bodyPr anchor="ctr"/>
          <a:lstStyle>
            <a:lvl1pPr algn="l">
              <a:defRPr lang="en-US" dirty="0" smtClean="0"/>
            </a:lvl1pPr>
            <a:lvl2pPr algn="l">
              <a:defRPr lang="en-US" dirty="0" smtClean="0"/>
            </a:lvl2pPr>
            <a:lvl3pPr algn="l">
              <a:defRPr lang="en-US" dirty="0" smtClean="0"/>
            </a:lvl3pPr>
            <a:lvl4pPr algn="l">
              <a:defRPr lang="en-US" dirty="0" smtClean="0"/>
            </a:lvl4pPr>
            <a:lvl5pPr algn="l"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7BA6D-103A-4630-B671-67CDA59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AB32-BE43-4FB9-9458-D139DB5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5EDC1-6DD2-47C3-AD8C-9CFFD202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6019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79015-6037-42AB-A911-E14A4A51C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70" y="262444"/>
            <a:ext cx="9188155" cy="79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5E1D-5246-4BD8-9B82-F25D6124E4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3045" y="1459502"/>
            <a:ext cx="5157787" cy="823912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0139B-3F01-4FDB-BA7A-CD6796ECA1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9712" y="1459502"/>
            <a:ext cx="5183188" cy="823912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E2A867-B7F9-400F-B53F-72E20DC48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33E19-47CE-4A9D-9597-EBC712FBC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C1FDE4-045D-4151-A400-75E6F6485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5A145B-F29E-006D-1556-1F96678A7A0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59502"/>
            <a:ext cx="0" cy="4636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B97350-CB5E-57CE-30F6-80DE41BACA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0049" y="2487168"/>
            <a:ext cx="5221287" cy="3480245"/>
          </a:xfr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33592C20-541F-B723-3084-86DF473420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70662" y="2487168"/>
            <a:ext cx="5202238" cy="3480245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3283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938DD-6B59-4B23-BB8D-81BFC8885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1ECD42-B28C-4148-898C-0C0A605C8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4CAD1-3CCD-44D3-9310-1D604CEB5A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B27571-686F-4B4E-8694-A351E868E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9609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C49F7-5585-466E-BE9D-CCDD8DAAF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4" y="262446"/>
            <a:ext cx="9201806" cy="801008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58B9A1-4D59-49B1-B440-BEF63D65E06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9394" y="1397726"/>
            <a:ext cx="4372631" cy="4471262"/>
          </a:xfrm>
        </p:spPr>
        <p:txBody>
          <a:bodyPr lIns="457200" rIns="457200"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Short quote or sentence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0E7228-DC76-4CB7-9466-801F41C70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1397726"/>
            <a:ext cx="6589712" cy="4463324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image, graph, or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CD48F-F4F3-4AC1-A88D-544CC48B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B3B703-D169-47A2-9C33-436FBCF3D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F87DB5-9556-4540-80A2-A057C8725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6021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30B67-659C-7697-5421-909A5FCF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27AD6D11-2BE8-DE48-5819-6F77CF7AA1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95275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0" name="Content Placeholder 28">
            <a:extLst>
              <a:ext uri="{FF2B5EF4-FFF2-40B4-BE49-F238E27FC236}">
                <a16:creationId xmlns:a16="http://schemas.microsoft.com/office/drawing/2014/main" id="{1CF05A26-7D27-E239-CC4A-63A7DDF57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2725426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1" name="Content Placeholder 28">
            <a:extLst>
              <a:ext uri="{FF2B5EF4-FFF2-40B4-BE49-F238E27FC236}">
                <a16:creationId xmlns:a16="http://schemas.microsoft.com/office/drawing/2014/main" id="{57AD2754-B5AD-1324-1A63-EFD85B8268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155993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2" name="Content Placeholder 28">
            <a:extLst>
              <a:ext uri="{FF2B5EF4-FFF2-40B4-BE49-F238E27FC236}">
                <a16:creationId xmlns:a16="http://schemas.microsoft.com/office/drawing/2014/main" id="{82C82E6A-A46A-0AEF-EB73-6E40043A7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7586560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3" name="Content Placeholder 28">
            <a:extLst>
              <a:ext uri="{FF2B5EF4-FFF2-40B4-BE49-F238E27FC236}">
                <a16:creationId xmlns:a16="http://schemas.microsoft.com/office/drawing/2014/main" id="{93156D60-989D-68F0-4C15-0A9C394FA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17127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1B06C2F-53D6-8598-AAB6-E40BE18A1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5410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B50BF4-B0BA-5835-9E78-5977685051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5839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B0D02AD-25F5-A47F-0EF2-1516FA826E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6268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D2B7D219-3A4B-F862-08FD-FA03952D90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86697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46B508DF-13DD-A5CA-6B03-C9CE9E53E3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17127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95190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C49F7-5585-466E-BE9D-CCDD8DAAFB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4" y="262446"/>
            <a:ext cx="9201806" cy="801008"/>
          </a:xfrm>
        </p:spPr>
        <p:txBody>
          <a:bodyPr anchor="ctr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58B9A1-4D59-49B1-B440-BEF63D65E06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9394" y="1397726"/>
            <a:ext cx="4372631" cy="4471262"/>
          </a:xfrm>
        </p:spPr>
        <p:txBody>
          <a:bodyPr lIns="457200" rIns="457200"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Short quote or sentence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0E7228-DC76-4CB7-9466-801F41C70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1397726"/>
            <a:ext cx="6589712" cy="4463324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Place image, graph, or chart her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CD48F-F4F3-4AC1-A88D-544CC48BD0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B3B703-D169-47A2-9C33-436FBCF3DC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F87DB5-9556-4540-80A2-A057C8725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0072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st w title an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30B67-659C-7697-5421-909A5FCF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27AD6D11-2BE8-DE48-5819-6F77CF7AA1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66938" y="1652337"/>
            <a:ext cx="277569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0" name="Content Placeholder 28">
            <a:extLst>
              <a:ext uri="{FF2B5EF4-FFF2-40B4-BE49-F238E27FC236}">
                <a16:creationId xmlns:a16="http://schemas.microsoft.com/office/drawing/2014/main" id="{1CF05A26-7D27-E239-CC4A-63A7DDF57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197068" y="1652337"/>
            <a:ext cx="277569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1" name="Content Placeholder 28">
            <a:extLst>
              <a:ext uri="{FF2B5EF4-FFF2-40B4-BE49-F238E27FC236}">
                <a16:creationId xmlns:a16="http://schemas.microsoft.com/office/drawing/2014/main" id="{57AD2754-B5AD-1324-1A63-EFD85B8268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227198" y="1652337"/>
            <a:ext cx="277569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2" name="Content Placeholder 28">
            <a:extLst>
              <a:ext uri="{FF2B5EF4-FFF2-40B4-BE49-F238E27FC236}">
                <a16:creationId xmlns:a16="http://schemas.microsoft.com/office/drawing/2014/main" id="{82C82E6A-A46A-0AEF-EB73-6E40043A7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9257328" y="1652337"/>
            <a:ext cx="275287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1B06C2F-53D6-8598-AAB6-E40BE18A1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073" y="3241899"/>
            <a:ext cx="2775697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B50BF4-B0BA-5835-9E78-5977685051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8010" y="3241899"/>
            <a:ext cx="2775697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B0D02AD-25F5-A47F-0EF2-1516FA826E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27199" y="3241899"/>
            <a:ext cx="2776639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D2B7D219-3A4B-F862-08FD-FA03952D90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7329" y="3241899"/>
            <a:ext cx="2752875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E136C7-10F7-0312-2BF4-C60048AEDB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6937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D2709BA-EBF6-8560-40DE-F2276EA7C92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97068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24872E5-5F98-F60A-3FE1-D49B7E24E2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7199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520FBFB-5344-1A9B-828E-EE33FF7FF5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57329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</p:spTree>
    <p:extLst>
      <p:ext uri="{BB962C8B-B14F-4D97-AF65-F5344CB8AC3E}">
        <p14:creationId xmlns:p14="http://schemas.microsoft.com/office/powerpoint/2010/main" val="1561957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704E117-2B03-1EA3-1C5F-0B2D148F79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1FD423B-37DC-AC57-07AF-8A1A0310EDE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990850" y="1065213"/>
            <a:ext cx="9201150" cy="579278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to </a:t>
            </a:r>
          </a:p>
          <a:p>
            <a:r>
              <a:rPr lang="en-US"/>
              <a:t>insert a pictur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3EE41B9-8A7C-0812-9E35-3A9CDA8DCD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1"/>
          </p:nvPr>
        </p:nvSpPr>
        <p:spPr>
          <a:xfrm>
            <a:off x="2990850" y="1852613"/>
            <a:ext cx="4762500" cy="3657600"/>
          </a:xfrm>
          <a:solidFill>
            <a:schemeClr val="accent1">
              <a:lumMod val="75000"/>
              <a:alpha val="5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7F123AD-CA53-6AE5-46B1-8B54BB43078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852613"/>
            <a:ext cx="6381750" cy="3657600"/>
          </a:xfrm>
          <a:solidFill>
            <a:schemeClr val="accent1">
              <a:lumMod val="75000"/>
            </a:schemeClr>
          </a:solidFill>
        </p:spPr>
        <p:txBody>
          <a:bodyPr lIns="457200" rIns="457200" anchor="ctr">
            <a:noAutofit/>
          </a:bodyPr>
          <a:lstStyle>
            <a:lvl1pPr marL="0" indent="0" algn="l">
              <a:lnSpc>
                <a:spcPct val="16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Use this slide to emphasize a point or insert a quote. Keep it to one to two light sentences.</a:t>
            </a:r>
          </a:p>
        </p:txBody>
      </p:sp>
    </p:spTree>
    <p:extLst>
      <p:ext uri="{BB962C8B-B14F-4D97-AF65-F5344CB8AC3E}">
        <p14:creationId xmlns:p14="http://schemas.microsoft.com/office/powerpoint/2010/main" val="282091487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 w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5B768DD4-BC38-EDD8-8E89-B866129E5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385E41-9C65-3EFC-2450-D3013504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99393" y="2235763"/>
            <a:ext cx="2492453" cy="155809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D0479A-694C-A382-0D23-BBCDFA0044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364736" y="2214368"/>
            <a:ext cx="2492453" cy="155809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0BED75-F78C-5065-3CDC-693D1BD9BA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322172" y="2242664"/>
            <a:ext cx="2492453" cy="155809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A75917-560D-FC23-2CDD-74B1A71F21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95421" y="2195033"/>
            <a:ext cx="2492453" cy="155809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1F61641E-9515-7858-7F70-8F0C1E4190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8516" y="3778800"/>
            <a:ext cx="2477604" cy="165044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0552207D-9CBF-0E99-CC3A-D7D1CF5B1B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78928" y="3771900"/>
            <a:ext cx="2462446" cy="165735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44723890-90A3-372E-9B16-D80178205F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21766" y="3771900"/>
            <a:ext cx="2493264" cy="167612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908F0618-3D8A-B40A-2FC5-BB7EEF17393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305694" y="3753128"/>
            <a:ext cx="2477790" cy="167612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F54E3D7-0961-B2FD-BFD9-4200E7F02F2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0050" y="2242664"/>
            <a:ext cx="2477604" cy="1529236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97AFA94E-3CB0-55AB-EF5F-35351EA0C23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68675" y="2214563"/>
            <a:ext cx="2474322" cy="1557337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38C95F6-3FA3-EBB3-8800-C9099AA8C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038" y="2242664"/>
            <a:ext cx="2472720" cy="1529236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6241659-A67D-511C-73C2-1FC772DD8F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09023" y="2195513"/>
            <a:ext cx="2459115" cy="1528762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1800" b="1">
                <a:solidFill>
                  <a:schemeClr val="bg1"/>
                </a:solidFill>
              </a:defRPr>
            </a:lvl2pPr>
            <a:lvl3pPr marL="914400" indent="0" algn="ctr">
              <a:buNone/>
              <a:defRPr sz="1800" b="1">
                <a:solidFill>
                  <a:schemeClr val="bg1"/>
                </a:solidFill>
              </a:defRPr>
            </a:lvl3pPr>
            <a:lvl4pPr marL="1371600" indent="0" algn="ctr">
              <a:buNone/>
              <a:defRPr sz="1800" b="1">
                <a:solidFill>
                  <a:schemeClr val="bg1"/>
                </a:solidFill>
              </a:defRPr>
            </a:lvl4pPr>
            <a:lvl5pPr marL="1828800" indent="0" algn="ctr"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Title</a:t>
            </a:r>
          </a:p>
        </p:txBody>
      </p:sp>
    </p:spTree>
    <p:extLst>
      <p:ext uri="{BB962C8B-B14F-4D97-AF65-F5344CB8AC3E}">
        <p14:creationId xmlns:p14="http://schemas.microsoft.com/office/powerpoint/2010/main" val="42753057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+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C9E8904-0136-685D-B93D-9A5A632B76F0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6F7F577-D0FD-0049-3E7B-D46BE2C5E6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7792"/>
            <a:ext cx="9219169" cy="78753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7059954F-EEFA-4DC0-8275-C48E80E83615}"/>
              </a:ext>
            </a:extLst>
          </p:cNvPr>
          <p:cNvSpPr/>
          <p:nvPr userDrawn="1"/>
        </p:nvSpPr>
        <p:spPr>
          <a:xfrm rot="5400000">
            <a:off x="4279069" y="3696872"/>
            <a:ext cx="985911" cy="604911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87DBBAC-5AC1-CDD6-9403-E06C08A73F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9100" y="1362075"/>
            <a:ext cx="4248150" cy="5151438"/>
          </a:xfrm>
          <a:solidFill>
            <a:schemeClr val="accent1"/>
          </a:solidFill>
        </p:spPr>
        <p:txBody>
          <a:bodyPr lIns="365760" rIns="27432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8AE886-96A2-4116-A4A2-846D4ECCAE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3188" y="1362658"/>
            <a:ext cx="6589712" cy="5150684"/>
          </a:xfrm>
          <a:ln>
            <a:solidFill>
              <a:schemeClr val="accent1"/>
            </a:solidFill>
          </a:ln>
        </p:spPr>
        <p:txBody>
          <a:bodyPr lIns="182880" tIns="182880" rIns="182880" bIns="182880" anchor="ctr"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C0D7554-0848-4241-9D65-61693530A1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07A3E75-62DD-E95F-8A1E-448C27B7CAE9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73490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599292-D18A-F840-E40F-4E2481AC8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38">
            <a:extLst>
              <a:ext uri="{FF2B5EF4-FFF2-40B4-BE49-F238E27FC236}">
                <a16:creationId xmlns:a16="http://schemas.microsoft.com/office/drawing/2014/main" id="{A7E3F95D-17C7-00B7-E3CC-9DD44BF3534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99393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A80BA819-6AB3-DC6E-B9F7-829040E514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9619" y="5724526"/>
            <a:ext cx="3467100" cy="581024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buNone/>
              <a:defRPr sz="18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42">
            <a:extLst>
              <a:ext uri="{FF2B5EF4-FFF2-40B4-BE49-F238E27FC236}">
                <a16:creationId xmlns:a16="http://schemas.microsoft.com/office/drawing/2014/main" id="{C863983F-102B-1CF9-CAB7-4BF8363B820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98534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9" name="Text Placeholder 44">
            <a:extLst>
              <a:ext uri="{FF2B5EF4-FFF2-40B4-BE49-F238E27FC236}">
                <a16:creationId xmlns:a16="http://schemas.microsoft.com/office/drawing/2014/main" id="{0447845F-460D-EF0F-3C85-CD9682EB483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98534" y="5724525"/>
            <a:ext cx="3467100" cy="581025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42">
            <a:extLst>
              <a:ext uri="{FF2B5EF4-FFF2-40B4-BE49-F238E27FC236}">
                <a16:creationId xmlns:a16="http://schemas.microsoft.com/office/drawing/2014/main" id="{D97B8D89-9249-7A8D-B1CF-4E022ACB8D7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325281" y="1338263"/>
            <a:ext cx="3467100" cy="418147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11" name="Text Placeholder 44">
            <a:extLst>
              <a:ext uri="{FF2B5EF4-FFF2-40B4-BE49-F238E27FC236}">
                <a16:creationId xmlns:a16="http://schemas.microsoft.com/office/drawing/2014/main" id="{0CFE4C8B-C50A-E1D0-68DA-2A0CBCE15E7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25281" y="5724525"/>
            <a:ext cx="3467100" cy="581025"/>
          </a:xfrm>
        </p:spPr>
        <p:txBody>
          <a:bodyPr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60915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imelin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497F8-F53B-D2A7-D94B-31E2BDEEB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80E81D2-B493-8BC3-5C67-B4DCE0DA713F}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399393" y="1695413"/>
            <a:ext cx="11395210" cy="3821409"/>
            <a:chOff x="399393" y="1695413"/>
            <a:chExt cx="11395210" cy="382140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2BB2FC8B-3E9B-2053-D9F2-81B2CDE7A2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401317" y="1695413"/>
              <a:ext cx="11374827" cy="2935660"/>
              <a:chOff x="401317" y="1695413"/>
              <a:chExt cx="11374827" cy="293566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102CE077-AA72-6EF9-86C3-F16DC839B8A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9448100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1EEDA26B-E412-1AAE-99BF-E354FBD5EFE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01318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81351332-7EEC-5B19-6DE1-2DDD91A9C3E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01317" y="1698219"/>
                <a:ext cx="2329884" cy="125934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A926F7F-4CB0-C175-D739-B5314FEF924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395881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5D0A4E66-2C6B-A8E5-233B-FC4F805279A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97720" y="1700666"/>
                <a:ext cx="2326205" cy="123487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39E0968-128F-ECC1-CED6-9F4CAECC2B7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403816" y="1695413"/>
                <a:ext cx="2328044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D63F789-3B4F-2DD0-6559-4279C17CBB3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403817" y="1700667"/>
                <a:ext cx="2323180" cy="12348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AA7A27CD-CB71-87C5-8849-0B946C1499A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9446175" y="1700666"/>
                <a:ext cx="2328044" cy="127319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5919257B-B330-4B14-3438-B6A58264B68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0" idx="0"/>
              </p:cNvCxnSpPr>
              <p:nvPr/>
            </p:nvCxnSpPr>
            <p:spPr>
              <a:xfrm flipV="1">
                <a:off x="1562828" y="4079864"/>
                <a:ext cx="587" cy="551209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CDC0E3E7-8514-CBC3-9925-DA162E62B47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1" idx="0"/>
              </p:cNvCxnSpPr>
              <p:nvPr/>
            </p:nvCxnSpPr>
            <p:spPr>
              <a:xfrm flipH="1" flipV="1">
                <a:off x="4574442" y="4085935"/>
                <a:ext cx="3855" cy="503164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A043E423-EEDD-0C3F-6250-C20AA02C234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2" idx="0"/>
              </p:cNvCxnSpPr>
              <p:nvPr/>
            </p:nvCxnSpPr>
            <p:spPr>
              <a:xfrm flipH="1" flipV="1">
                <a:off x="7582377" y="4086180"/>
                <a:ext cx="11389" cy="527256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9CC51457-AF5D-9D9D-F956-5CC41A1C0CE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23" idx="0"/>
              </p:cNvCxnSpPr>
              <p:nvPr/>
            </p:nvCxnSpPr>
            <p:spPr>
              <a:xfrm flipH="1" flipV="1">
                <a:off x="10604852" y="4077194"/>
                <a:ext cx="4382" cy="539955"/>
              </a:xfrm>
              <a:prstGeom prst="line">
                <a:avLst/>
              </a:pr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B280743A-46FF-F379-359B-DDA458D329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99393" y="5037629"/>
              <a:ext cx="11395210" cy="0"/>
            </a:xfrm>
            <a:prstGeom prst="line">
              <a:avLst/>
            </a:prstGeom>
            <a:ln w="38100"/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9BABD96-BC99-C03B-9E10-931CCF597F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179423" y="4631073"/>
              <a:ext cx="766810" cy="7668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251536E-62E3-2AA1-CEFD-B9C9A29376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194892" y="4589099"/>
              <a:ext cx="766810" cy="7668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146F70A-A640-4989-F4E5-4FF57043E8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210361" y="4613436"/>
              <a:ext cx="766810" cy="766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125F82DC-BD4F-AFC5-924C-D472922253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225829" y="4617149"/>
              <a:ext cx="766810" cy="76681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F3D77914-B6E9-199C-5F2A-2E4D99CA4D0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2613363" y="4581605"/>
              <a:ext cx="914400" cy="914400"/>
            </a:xfrm>
            <a:prstGeom prst="rect">
              <a:avLst/>
            </a:prstGeom>
          </p:spPr>
        </p:pic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2469D51B-BC51-9029-C903-BB91BED5DC5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5713950" y="4602422"/>
              <a:ext cx="914400" cy="914400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121B9252-AFA0-A819-3ECA-7D37286C042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8644300" y="4589099"/>
              <a:ext cx="914400" cy="914400"/>
            </a:xfrm>
            <a:prstGeom prst="rect">
              <a:avLst/>
            </a:prstGeom>
          </p:spPr>
        </p:pic>
      </p:grpSp>
      <p:sp>
        <p:nvSpPr>
          <p:cNvPr id="39" name="Text Placeholder 48">
            <a:extLst>
              <a:ext uri="{FF2B5EF4-FFF2-40B4-BE49-F238E27FC236}">
                <a16:creationId xmlns:a16="http://schemas.microsoft.com/office/drawing/2014/main" id="{843B5F78-147D-140C-CA71-235106604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1319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Content Placeholder 50">
            <a:extLst>
              <a:ext uri="{FF2B5EF4-FFF2-40B4-BE49-F238E27FC236}">
                <a16:creationId xmlns:a16="http://schemas.microsoft.com/office/drawing/2014/main" id="{96767FD8-C20D-1504-612A-B847A6EE633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181372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41" name="Text Placeholder 60">
            <a:extLst>
              <a:ext uri="{FF2B5EF4-FFF2-40B4-BE49-F238E27FC236}">
                <a16:creationId xmlns:a16="http://schemas.microsoft.com/office/drawing/2014/main" id="{F9DEB5B9-1D97-DAAA-E0F7-7CEB34A3A6A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9393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3" name="Text Placeholder 48">
            <a:extLst>
              <a:ext uri="{FF2B5EF4-FFF2-40B4-BE49-F238E27FC236}">
                <a16:creationId xmlns:a16="http://schemas.microsoft.com/office/drawing/2014/main" id="{75D825C9-A96C-CF0E-8670-A25546F3AB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407238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4" name="Content Placeholder 50">
            <a:extLst>
              <a:ext uri="{FF2B5EF4-FFF2-40B4-BE49-F238E27FC236}">
                <a16:creationId xmlns:a16="http://schemas.microsoft.com/office/drawing/2014/main" id="{0B4F9EB4-B491-338C-35B5-3C6CF6AEE06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187291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45" name="Text Placeholder 60">
            <a:extLst>
              <a:ext uri="{FF2B5EF4-FFF2-40B4-BE49-F238E27FC236}">
                <a16:creationId xmlns:a16="http://schemas.microsoft.com/office/drawing/2014/main" id="{69182E76-40AF-2F92-2BF3-F7BE7FDF472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05312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6" name="Text Placeholder 48">
            <a:extLst>
              <a:ext uri="{FF2B5EF4-FFF2-40B4-BE49-F238E27FC236}">
                <a16:creationId xmlns:a16="http://schemas.microsoft.com/office/drawing/2014/main" id="{AAEC347C-E9B9-3AC7-A2D7-712F122C8DC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396546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Content Placeholder 50">
            <a:extLst>
              <a:ext uri="{FF2B5EF4-FFF2-40B4-BE49-F238E27FC236}">
                <a16:creationId xmlns:a16="http://schemas.microsoft.com/office/drawing/2014/main" id="{7719E8D3-37DF-09F6-8810-43D30DB7A45E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7176599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48" name="Text Placeholder 60">
            <a:extLst>
              <a:ext uri="{FF2B5EF4-FFF2-40B4-BE49-F238E27FC236}">
                <a16:creationId xmlns:a16="http://schemas.microsoft.com/office/drawing/2014/main" id="{36D05DBE-B525-853F-AE5A-6EC6D20DD4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94620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4316F379-0B41-35F9-0408-8433B41921D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7985" y="1876425"/>
            <a:ext cx="2329968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Content Placeholder 50">
            <a:extLst>
              <a:ext uri="{FF2B5EF4-FFF2-40B4-BE49-F238E27FC236}">
                <a16:creationId xmlns:a16="http://schemas.microsoft.com/office/drawing/2014/main" id="{F680A05B-5FAD-D8CE-9046-1874672709CF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10238038" y="4627909"/>
            <a:ext cx="76486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51" name="Text Placeholder 60">
            <a:extLst>
              <a:ext uri="{FF2B5EF4-FFF2-40B4-BE49-F238E27FC236}">
                <a16:creationId xmlns:a16="http://schemas.microsoft.com/office/drawing/2014/main" id="{9BE6BC1E-19DD-EDA7-E218-826CBCC2A5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56059" y="5511799"/>
            <a:ext cx="2325105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37608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imelin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285DE-9BB6-A674-7CB8-B794F70D8D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9285C9-C210-6306-0914-A914B0F9DF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7450877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6D31505-D0C9-A750-7715-F672F5AEF3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01318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DB498E1-E9F2-B1D0-2630-F3F5A6A4C3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401225" y="1698219"/>
            <a:ext cx="1973581" cy="12593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58C7558-14EB-4E86-65CA-CDD1FFD8D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51171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8A59CD-10EA-B392-92F8-6399D43781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2747968" y="1700666"/>
            <a:ext cx="1976692" cy="12348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5C4C6E1-1166-049B-E7AD-E8D65983CA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101024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0D7E38-692A-0266-2B2A-08CB08B931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097820" y="1700667"/>
            <a:ext cx="1980541" cy="12348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E844F4-8A3B-8D58-DD2D-6A0ACA9D3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800730" y="1695413"/>
            <a:ext cx="1975413" cy="2384452"/>
          </a:xfrm>
          <a:prstGeom prst="rect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B3D6ED-3346-572E-D415-F78C19A78B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9798805" y="1700666"/>
            <a:ext cx="1975413" cy="12731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A841711-2477-1D4C-9A67-E209F192D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7448952" y="1700666"/>
            <a:ext cx="1975413" cy="12731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1092AB4-F662-EAD4-D087-BFBB9393EB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3" idx="0"/>
          </p:cNvCxnSpPr>
          <p:nvPr/>
        </p:nvCxnSpPr>
        <p:spPr>
          <a:xfrm flipV="1">
            <a:off x="1387100" y="4079864"/>
            <a:ext cx="0" cy="551209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EE5FD47-77F6-7C13-0357-AD4846DCF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4" idx="0"/>
          </p:cNvCxnSpPr>
          <p:nvPr/>
        </p:nvCxnSpPr>
        <p:spPr>
          <a:xfrm flipV="1">
            <a:off x="3752184" y="4085935"/>
            <a:ext cx="1233" cy="503164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E1177F6-FBB0-E490-1C80-63720C10F7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6100128" y="4086180"/>
            <a:ext cx="3142" cy="559174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6373376-31E8-C5CD-1CE5-52A67112DC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8429079" y="4077194"/>
            <a:ext cx="2235" cy="556585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81BC68F-BF96-FF1E-3EC6-B7B2AB8B1D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27" idx="0"/>
            <a:endCxn id="14" idx="2"/>
          </p:cNvCxnSpPr>
          <p:nvPr/>
        </p:nvCxnSpPr>
        <p:spPr>
          <a:xfrm flipH="1" flipV="1">
            <a:off x="10788437" y="4079865"/>
            <a:ext cx="4399" cy="533571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0AA13F-9433-2219-4A1D-6684A7A9F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 userDrawn="1"/>
        </p:nvCxnSpPr>
        <p:spPr>
          <a:xfrm>
            <a:off x="399393" y="5037629"/>
            <a:ext cx="11395210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FF2B5EF4-FFF2-40B4-BE49-F238E27FC236}">
                <a16:creationId xmlns:a16="http://schemas.microsoft.com/office/drawing/2014/main" id="{D475B4F7-8150-EEAC-AC32-14A8BCB002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03695" y="4631073"/>
            <a:ext cx="766810" cy="76681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C05D674-1BB3-8DF9-8E40-6A0A020D44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3368779" y="4589099"/>
            <a:ext cx="766810" cy="7668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6254648-4359-D00A-A27C-1AD1F20FEE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5719307" y="4613436"/>
            <a:ext cx="766810" cy="7668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2CA4D2D-915F-CAD7-252D-DF63813E8E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8048573" y="4617149"/>
            <a:ext cx="766810" cy="7668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2EAB4EE-54C7-BFD2-3826-9F6C65F6F7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0409431" y="4613436"/>
            <a:ext cx="766810" cy="7668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CD6C4ACF-6BD3-2645-7042-B68C65D603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2112442" y="4581605"/>
            <a:ext cx="914400" cy="9144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2F0019AE-B6E7-1F98-8370-7BFE29B7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4499184" y="4596961"/>
            <a:ext cx="914400" cy="9144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FBD1FAAE-93A2-8B57-BC24-FAF8D49ED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6810145" y="4589099"/>
            <a:ext cx="914400" cy="91440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258A5E75-178A-8859-EE09-2BEEA7D1E2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9149195" y="4589099"/>
            <a:ext cx="914400" cy="91440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EE7E33F3-FF5A-A7BC-2D00-8399EADB04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255" y="4672348"/>
            <a:ext cx="653686" cy="653686"/>
          </a:xfrm>
          <a:prstGeom prst="rect">
            <a:avLst/>
          </a:prstGeom>
        </p:spPr>
      </p:pic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D1F09204-0A3A-9424-32DD-63FB6BE5E4AA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401319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Content Placeholder 50">
            <a:extLst>
              <a:ext uri="{FF2B5EF4-FFF2-40B4-BE49-F238E27FC236}">
                <a16:creationId xmlns:a16="http://schemas.microsoft.com/office/drawing/2014/main" id="{2AEFE0C1-C0D9-7A7F-D32C-958AD6C8F6C2}"/>
              </a:ext>
            </a:extLst>
          </p:cNvPr>
          <p:cNvSpPr>
            <a:spLocks noGrp="1"/>
          </p:cNvSpPr>
          <p:nvPr userDrawn="1">
            <p:ph sz="quarter" idx="14"/>
          </p:nvPr>
        </p:nvSpPr>
        <p:spPr>
          <a:xfrm>
            <a:off x="1003695" y="4627909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8525CFAA-7DB3-CE77-909C-1D1498375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9393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2" name="Text Placeholder 48">
            <a:extLst>
              <a:ext uri="{FF2B5EF4-FFF2-40B4-BE49-F238E27FC236}">
                <a16:creationId xmlns:a16="http://schemas.microsoft.com/office/drawing/2014/main" id="{90957608-973E-E7C2-92A2-EE9A08E9F0CD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2743373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Content Placeholder 50">
            <a:extLst>
              <a:ext uri="{FF2B5EF4-FFF2-40B4-BE49-F238E27FC236}">
                <a16:creationId xmlns:a16="http://schemas.microsoft.com/office/drawing/2014/main" id="{6B909629-9A6A-3E81-5FB1-817E0F39C791}"/>
              </a:ext>
            </a:extLst>
          </p:cNvPr>
          <p:cNvSpPr>
            <a:spLocks noGrp="1"/>
          </p:cNvSpPr>
          <p:nvPr userDrawn="1">
            <p:ph sz="quarter" idx="16"/>
          </p:nvPr>
        </p:nvSpPr>
        <p:spPr>
          <a:xfrm>
            <a:off x="3345749" y="4603980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2" name="Text Placeholder 60">
            <a:extLst>
              <a:ext uri="{FF2B5EF4-FFF2-40B4-BE49-F238E27FC236}">
                <a16:creationId xmlns:a16="http://schemas.microsoft.com/office/drawing/2014/main" id="{E930A968-9067-13E2-37C4-191D606CA5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49247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4" name="Text Placeholder 48">
            <a:extLst>
              <a:ext uri="{FF2B5EF4-FFF2-40B4-BE49-F238E27FC236}">
                <a16:creationId xmlns:a16="http://schemas.microsoft.com/office/drawing/2014/main" id="{D0A3F594-A64E-FEC6-8BE2-493E6CCB06F6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5111082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Content Placeholder 50">
            <a:extLst>
              <a:ext uri="{FF2B5EF4-FFF2-40B4-BE49-F238E27FC236}">
                <a16:creationId xmlns:a16="http://schemas.microsoft.com/office/drawing/2014/main" id="{C0F3A1BE-2314-4202-C384-482A80F3E933}"/>
              </a:ext>
            </a:extLst>
          </p:cNvPr>
          <p:cNvSpPr>
            <a:spLocks noGrp="1"/>
          </p:cNvSpPr>
          <p:nvPr userDrawn="1">
            <p:ph sz="quarter" idx="18"/>
          </p:nvPr>
        </p:nvSpPr>
        <p:spPr>
          <a:xfrm>
            <a:off x="5713458" y="4598492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EAD0A4C9-EE99-A2CF-DC8E-82C241A753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13992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6" name="Text Placeholder 48">
            <a:extLst>
              <a:ext uri="{FF2B5EF4-FFF2-40B4-BE49-F238E27FC236}">
                <a16:creationId xmlns:a16="http://schemas.microsoft.com/office/drawing/2014/main" id="{97B62171-25D1-AD52-DAC6-EB0340CAAE0C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7451793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Content Placeholder 50">
            <a:extLst>
              <a:ext uri="{FF2B5EF4-FFF2-40B4-BE49-F238E27FC236}">
                <a16:creationId xmlns:a16="http://schemas.microsoft.com/office/drawing/2014/main" id="{3C66568D-24E6-31AA-EB06-D6EBD615D64F}"/>
              </a:ext>
            </a:extLst>
          </p:cNvPr>
          <p:cNvSpPr>
            <a:spLocks noGrp="1"/>
          </p:cNvSpPr>
          <p:nvPr userDrawn="1">
            <p:ph sz="quarter" idx="20"/>
          </p:nvPr>
        </p:nvSpPr>
        <p:spPr>
          <a:xfrm>
            <a:off x="8054169" y="4592454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4" name="Text Placeholder 60">
            <a:extLst>
              <a:ext uri="{FF2B5EF4-FFF2-40B4-BE49-F238E27FC236}">
                <a16:creationId xmlns:a16="http://schemas.microsoft.com/office/drawing/2014/main" id="{5F191BE6-CC17-1152-99AC-E225735A23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34059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58" name="Text Placeholder 48">
            <a:extLst>
              <a:ext uri="{FF2B5EF4-FFF2-40B4-BE49-F238E27FC236}">
                <a16:creationId xmlns:a16="http://schemas.microsoft.com/office/drawing/2014/main" id="{097EF379-DC95-E613-037D-50CBD626803C}"/>
              </a:ext>
            </a:extLst>
          </p:cNvPr>
          <p:cNvSpPr>
            <a:spLocks noGrp="1"/>
          </p:cNvSpPr>
          <p:nvPr userDrawn="1">
            <p:ph type="body" sz="quarter" idx="21"/>
          </p:nvPr>
        </p:nvSpPr>
        <p:spPr>
          <a:xfrm>
            <a:off x="9805765" y="1876425"/>
            <a:ext cx="1973582" cy="2200275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Content Placeholder 50">
            <a:extLst>
              <a:ext uri="{FF2B5EF4-FFF2-40B4-BE49-F238E27FC236}">
                <a16:creationId xmlns:a16="http://schemas.microsoft.com/office/drawing/2014/main" id="{C2EC05FF-D147-4C06-0156-C392E9CD1278}"/>
              </a:ext>
            </a:extLst>
          </p:cNvPr>
          <p:cNvSpPr>
            <a:spLocks noGrp="1"/>
          </p:cNvSpPr>
          <p:nvPr userDrawn="1">
            <p:ph sz="quarter" idx="22"/>
          </p:nvPr>
        </p:nvSpPr>
        <p:spPr>
          <a:xfrm>
            <a:off x="10408141" y="4579469"/>
            <a:ext cx="762911" cy="769592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endParaRPr lang="en-US"/>
          </a:p>
        </p:txBody>
      </p:sp>
      <p:sp>
        <p:nvSpPr>
          <p:cNvPr id="63" name="Text Placeholder 60">
            <a:extLst>
              <a:ext uri="{FF2B5EF4-FFF2-40B4-BE49-F238E27FC236}">
                <a16:creationId xmlns:a16="http://schemas.microsoft.com/office/drawing/2014/main" id="{CBCBB95C-696E-AD72-F363-583392221C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798804" y="5511799"/>
            <a:ext cx="1975413" cy="319349"/>
          </a:xfrm>
        </p:spPr>
        <p:txBody>
          <a:bodyPr/>
          <a:lstStyle>
            <a:lvl1pPr marL="0" indent="0" algn="ctr">
              <a:buNone/>
              <a:defRPr sz="1800" b="1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428349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imeline sty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B011F-F905-C885-C408-C5EF4703EA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B845410-8E11-55BB-725A-37293075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98159" y="1695413"/>
            <a:ext cx="11602964" cy="3815948"/>
            <a:chOff x="298159" y="1695413"/>
            <a:chExt cx="11602964" cy="38159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686F2C4-1DF7-BDF3-10AA-5A1693057CA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298159" y="1695413"/>
              <a:ext cx="11602964" cy="2949941"/>
              <a:chOff x="298159" y="1695413"/>
              <a:chExt cx="11602964" cy="2949941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1D43AEE5-0D96-3CCD-EA78-7E77DCA5326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300086" y="1695413"/>
                <a:ext cx="1705977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028F19A2-29C3-8B81-1027-57026121BF98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98159" y="1698218"/>
                <a:ext cx="1705980" cy="129767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3685919B-2F19-75EE-7E2B-9BCEF54A24A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2" idx="0"/>
              </p:cNvCxnSpPr>
              <p:nvPr/>
            </p:nvCxnSpPr>
            <p:spPr>
              <a:xfrm flipH="1" flipV="1">
                <a:off x="1159382" y="4079864"/>
                <a:ext cx="7174" cy="551209"/>
              </a:xfrm>
              <a:prstGeom prst="line">
                <a:avLst/>
              </a:prstGeom>
            </p:spPr>
            <p:style>
              <a:lnRef idx="3">
                <a:schemeClr val="accent1"/>
              </a:lnRef>
              <a:fillRef idx="0">
                <a:schemeClr val="accent1"/>
              </a:fillRef>
              <a:effectRef idx="2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DAC35EA-275F-3C79-1F46-FE971ED55B9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270428" y="1695413"/>
                <a:ext cx="1705977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15587E00-1993-8B3A-8D47-FD31E8AFA58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281113" y="1700666"/>
                <a:ext cx="1695293" cy="123487"/>
              </a:xfrm>
              <a:prstGeom prst="rect">
                <a:avLst/>
              </a:prstGeom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FDC6EA83-DC00-A1BC-A1B3-C67C737F89D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3" idx="0"/>
              </p:cNvCxnSpPr>
              <p:nvPr/>
            </p:nvCxnSpPr>
            <p:spPr>
              <a:xfrm flipV="1">
                <a:off x="3122320" y="4085935"/>
                <a:ext cx="7404" cy="503164"/>
              </a:xfrm>
              <a:prstGeom prst="line">
                <a:avLst/>
              </a:prstGeom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2D7EA93A-5E5B-9E67-5915-5215AF0A734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255308" y="1695413"/>
                <a:ext cx="1709121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2C29A4A3-E97E-BE6F-7FBC-36DA5893D05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253380" y="1700667"/>
                <a:ext cx="1711050" cy="12348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BA442FFD-CB61-7071-F1AA-0F453950A05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 flipH="1" flipV="1">
                <a:off x="5121720" y="4086180"/>
                <a:ext cx="6525" cy="559174"/>
              </a:xfrm>
              <a:prstGeom prst="line">
                <a:avLst/>
              </a:prstGeom>
            </p:spPr>
            <p:style>
              <a:lnRef idx="3">
                <a:schemeClr val="accent3"/>
              </a:lnRef>
              <a:fillRef idx="0">
                <a:schemeClr val="accent3"/>
              </a:fillRef>
              <a:effectRef idx="2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B925B000-10A8-9C3F-AC27-68319AD9F89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250601" y="1695413"/>
                <a:ext cx="1705979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6F1A7810-9EF2-C841-812F-7DC3E7A3261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248677" y="1700666"/>
                <a:ext cx="1707904" cy="12348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39A7A1CD-FDAC-3582-8FCC-12B95F40BBF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</p:cNvCxnSpPr>
              <p:nvPr/>
            </p:nvCxnSpPr>
            <p:spPr>
              <a:xfrm flipH="1" flipV="1">
                <a:off x="7095204" y="4077194"/>
                <a:ext cx="7425" cy="556585"/>
              </a:xfrm>
              <a:prstGeom prst="line">
                <a:avLst/>
              </a:prstGeom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CF7E133F-4CB4-E0CF-648A-F0BAD98F7A7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222872" y="1695413"/>
                <a:ext cx="1705980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0475527-568A-BD1E-F7B2-451DD81B1B1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8220945" y="1700666"/>
                <a:ext cx="1707904" cy="14923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23492B56-25AE-AC43-68A0-D7147657276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6" idx="0"/>
                <a:endCxn id="19" idx="2"/>
              </p:cNvCxnSpPr>
              <p:nvPr/>
            </p:nvCxnSpPr>
            <p:spPr>
              <a:xfrm flipV="1">
                <a:off x="9075862" y="4079865"/>
                <a:ext cx="0" cy="533571"/>
              </a:xfrm>
              <a:prstGeom prst="line">
                <a:avLst/>
              </a:prstGeom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3B947743-6D88-73E3-6DAF-AD0835E112D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0195143" y="1695413"/>
                <a:ext cx="1705980" cy="238445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BD6CF117-E9ED-4C6F-BFDE-FA1F4D703A25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0193216" y="1700666"/>
                <a:ext cx="1705979" cy="14923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06B6E154-4284-AEA0-4F0B-2B454421DC7C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>
                <a:cxnSpLocks noGrp="1" noRot="1" noMove="1" noResize="1" noEditPoints="1" noAdjustHandles="1" noChangeArrowheads="1" noChangeShapeType="1"/>
                <a:stCxn id="47" idx="0"/>
                <a:endCxn id="22" idx="2"/>
              </p:cNvCxnSpPr>
              <p:nvPr/>
            </p:nvCxnSpPr>
            <p:spPr>
              <a:xfrm flipV="1">
                <a:off x="11048133" y="4079865"/>
                <a:ext cx="0" cy="533571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3">
                <a:schemeClr val="accent5"/>
              </a:lnRef>
              <a:fillRef idx="0">
                <a:schemeClr val="accent5"/>
              </a:fillRef>
              <a:effectRef idx="2">
                <a:schemeClr val="accent5"/>
              </a:effectRef>
              <a:fontRef idx="minor">
                <a:schemeClr val="tx1"/>
              </a:fontRef>
            </p:style>
          </p:cxn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7777AA3-61BF-C55F-844A-9945A092690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399393" y="5037629"/>
              <a:ext cx="11395210" cy="0"/>
            </a:xfrm>
            <a:prstGeom prst="line">
              <a:avLst/>
            </a:prstGeom>
            <a:ln w="38100"/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</p:cxn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001BE0E-A88F-6E46-12CA-C0460A39FB4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1681046" y="4581605"/>
              <a:ext cx="914400" cy="914400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4FB941E6-2730-F47B-EF64-A9B7DB42B2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3665926" y="4596961"/>
              <a:ext cx="914400" cy="914400"/>
            </a:xfrm>
            <a:prstGeom prst="rect">
              <a:avLst/>
            </a:prstGeom>
          </p:spPr>
        </p:pic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83ACD5CF-AB5C-AE90-A7EF-D8E0AAEF5C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5653950" y="4589099"/>
              <a:ext cx="914400" cy="914400"/>
            </a:xfrm>
            <a:prstGeom prst="rect">
              <a:avLst/>
            </a:prstGeom>
          </p:spPr>
        </p:pic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C3723252-84F9-F10F-E9EC-F0951144D0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9603834" y="4589099"/>
              <a:ext cx="914400" cy="914400"/>
            </a:xfrm>
            <a:prstGeom prst="rect">
              <a:avLst/>
            </a:prstGeom>
          </p:spPr>
        </p:pic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36656A2-2940-3659-35CF-A9AB16A7889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783151" y="4631073"/>
              <a:ext cx="766810" cy="7668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C389D2E2-4AF5-C022-34DE-4ADC9BF3AC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2738915" y="4589099"/>
              <a:ext cx="766810" cy="76681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BF39AF5C-D1DC-3C1C-2E9A-7E241F7777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747424" y="4613436"/>
              <a:ext cx="766810" cy="76681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FD368EF-DE6B-551C-C7BA-6C39AE51896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722123" y="4617149"/>
              <a:ext cx="766810" cy="76681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A9838F8-3B33-2F98-F73C-33FC7A4E09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8692457" y="4613436"/>
              <a:ext cx="766810" cy="76681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8EDD0768-AACD-1199-15DC-680AC3BBD1E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0664728" y="4613436"/>
              <a:ext cx="766810" cy="7668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BB0B5095-A8E4-4960-5832-7316C21860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7631563" y="4589099"/>
              <a:ext cx="914400" cy="914400"/>
            </a:xfrm>
            <a:prstGeom prst="rect">
              <a:avLst/>
            </a:prstGeom>
          </p:spPr>
        </p:pic>
      </p:grpSp>
      <p:sp>
        <p:nvSpPr>
          <p:cNvPr id="56" name="Text Placeholder 55">
            <a:extLst>
              <a:ext uri="{FF2B5EF4-FFF2-40B4-BE49-F238E27FC236}">
                <a16:creationId xmlns:a16="http://schemas.microsoft.com/office/drawing/2014/main" id="{E510DFF1-3665-C9C0-444F-E4000A8A404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8450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58" name="Content Placeholder 57">
            <a:extLst>
              <a:ext uri="{FF2B5EF4-FFF2-40B4-BE49-F238E27FC236}">
                <a16:creationId xmlns:a16="http://schemas.microsoft.com/office/drawing/2014/main" id="{364C9444-7621-87C1-C9A0-D26718ABBF2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782638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39A010A9-F000-DEC1-1293-DC72E5B7E2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7446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3" name="Text Placeholder 55">
            <a:extLst>
              <a:ext uri="{FF2B5EF4-FFF2-40B4-BE49-F238E27FC236}">
                <a16:creationId xmlns:a16="http://schemas.microsoft.com/office/drawing/2014/main" id="{7FD4EBEB-47AE-3BDA-E5E6-22F04A39F0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66648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64" name="Content Placeholder 57">
            <a:extLst>
              <a:ext uri="{FF2B5EF4-FFF2-40B4-BE49-F238E27FC236}">
                <a16:creationId xmlns:a16="http://schemas.microsoft.com/office/drawing/2014/main" id="{58EF0936-B6E3-1C24-1212-3D78A48CE6C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750836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65" name="Text Placeholder 60">
            <a:extLst>
              <a:ext uri="{FF2B5EF4-FFF2-40B4-BE49-F238E27FC236}">
                <a16:creationId xmlns:a16="http://schemas.microsoft.com/office/drawing/2014/main" id="{6EEF3A11-FA85-CDBE-CEEB-4729ACE6CA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65644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6" name="Text Placeholder 55">
            <a:extLst>
              <a:ext uri="{FF2B5EF4-FFF2-40B4-BE49-F238E27FC236}">
                <a16:creationId xmlns:a16="http://schemas.microsoft.com/office/drawing/2014/main" id="{AD172BC0-DD7F-1694-0D1B-48A6D7C244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2109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67" name="Content Placeholder 57">
            <a:extLst>
              <a:ext uri="{FF2B5EF4-FFF2-40B4-BE49-F238E27FC236}">
                <a16:creationId xmlns:a16="http://schemas.microsoft.com/office/drawing/2014/main" id="{C32B1DF2-0F11-E7E7-3256-981B61ED32EC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746297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AE9F870F-E6B2-417E-72C8-D5A3B43CC5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1105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9" name="Text Placeholder 55">
            <a:extLst>
              <a:ext uri="{FF2B5EF4-FFF2-40B4-BE49-F238E27FC236}">
                <a16:creationId xmlns:a16="http://schemas.microsoft.com/office/drawing/2014/main" id="{D212CA6C-FD03-1D21-8138-468BD63CF77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43608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0" name="Content Placeholder 57">
            <a:extLst>
              <a:ext uri="{FF2B5EF4-FFF2-40B4-BE49-F238E27FC236}">
                <a16:creationId xmlns:a16="http://schemas.microsoft.com/office/drawing/2014/main" id="{C83E5A4F-EC10-CDE1-EBC3-884C8B85F6C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727796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71" name="Text Placeholder 60">
            <a:extLst>
              <a:ext uri="{FF2B5EF4-FFF2-40B4-BE49-F238E27FC236}">
                <a16:creationId xmlns:a16="http://schemas.microsoft.com/office/drawing/2014/main" id="{54592276-D88D-47EF-AA52-46BCA921000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42604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72" name="Text Placeholder 55">
            <a:extLst>
              <a:ext uri="{FF2B5EF4-FFF2-40B4-BE49-F238E27FC236}">
                <a16:creationId xmlns:a16="http://schemas.microsoft.com/office/drawing/2014/main" id="{001FAD61-5CB7-73D8-520E-E4481A454FA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42129" y="1857856"/>
            <a:ext cx="1686720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3" name="Content Placeholder 57">
            <a:extLst>
              <a:ext uri="{FF2B5EF4-FFF2-40B4-BE49-F238E27FC236}">
                <a16:creationId xmlns:a16="http://schemas.microsoft.com/office/drawing/2014/main" id="{FBF8B78B-2B79-6E6D-91D1-26FE68BAC57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8695069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74" name="Text Placeholder 60">
            <a:extLst>
              <a:ext uri="{FF2B5EF4-FFF2-40B4-BE49-F238E27FC236}">
                <a16:creationId xmlns:a16="http://schemas.microsoft.com/office/drawing/2014/main" id="{25E278C5-BF72-D1AC-5EEE-617142E7AF8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09877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75" name="Text Placeholder 55">
            <a:extLst>
              <a:ext uri="{FF2B5EF4-FFF2-40B4-BE49-F238E27FC236}">
                <a16:creationId xmlns:a16="http://schemas.microsoft.com/office/drawing/2014/main" id="{EE48076F-5B94-0555-9A0C-1883AB64B6E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0190687" y="1857856"/>
            <a:ext cx="1704975" cy="2227262"/>
          </a:xfrm>
        </p:spPr>
        <p:txBody>
          <a:bodyPr lIns="182880" rIns="182880"/>
          <a:lstStyle>
            <a:lvl1pPr marL="0" indent="0">
              <a:buNone/>
              <a:defRPr sz="1800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  <p:sp>
        <p:nvSpPr>
          <p:cNvPr id="76" name="Content Placeholder 57">
            <a:extLst>
              <a:ext uri="{FF2B5EF4-FFF2-40B4-BE49-F238E27FC236}">
                <a16:creationId xmlns:a16="http://schemas.microsoft.com/office/drawing/2014/main" id="{B622E7DB-609B-DAB6-B6D0-127CDC9D9022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10674875" y="4637209"/>
            <a:ext cx="766762" cy="752475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77" name="Text Placeholder 60">
            <a:extLst>
              <a:ext uri="{FF2B5EF4-FFF2-40B4-BE49-F238E27FC236}">
                <a16:creationId xmlns:a16="http://schemas.microsoft.com/office/drawing/2014/main" id="{BC68F9FB-0B5F-0A83-D073-C6EF3EC28B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189683" y="5511800"/>
            <a:ext cx="1705979" cy="342107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555622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FC92AB-6B05-D734-48BD-BD35D896D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970A56D-6942-7CDC-ADA6-AF67C970822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2978331"/>
            <a:ext cx="12192000" cy="1698172"/>
            <a:chOff x="0" y="2978331"/>
            <a:chExt cx="12192000" cy="1698172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26E1E24-F3C6-D0AB-0330-51853FA4E84E}"/>
                </a:ext>
              </a:extLst>
            </p:cNvPr>
            <p:cNvCxnSpPr/>
            <p:nvPr userDrawn="1"/>
          </p:nvCxnSpPr>
          <p:spPr>
            <a:xfrm>
              <a:off x="0" y="3840480"/>
              <a:ext cx="12192000" cy="0"/>
            </a:xfrm>
            <a:prstGeom prst="line">
              <a:avLst/>
            </a:prstGeom>
            <a:ln w="28575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6C1FCA20-BE44-C4C6-08F3-88034173F9D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936621" y="2991394"/>
              <a:ext cx="0" cy="84908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5371F9E-A6AC-90EA-AC73-4ACC1CD177E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932266" y="3429000"/>
              <a:ext cx="0" cy="411480"/>
            </a:xfrm>
            <a:prstGeom prst="line">
              <a:avLst/>
            </a:prstGeom>
            <a:ln w="57150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636EC85-CD80-7560-8D32-78C53A07596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118825" y="3827417"/>
              <a:ext cx="0" cy="84908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13918F-B607-CC08-97BC-561C25360AF6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6118825" y="3840480"/>
              <a:ext cx="0" cy="411480"/>
            </a:xfrm>
            <a:prstGeom prst="line">
              <a:avLst/>
            </a:prstGeom>
            <a:ln w="57150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359A1AC-4D14-0E69-FAFE-F0611BA51F7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05384" y="3429000"/>
              <a:ext cx="0" cy="411480"/>
            </a:xfrm>
            <a:prstGeom prst="line">
              <a:avLst/>
            </a:prstGeom>
            <a:ln w="57150"/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6DF0097-EAC2-E1D2-52C2-329081F03C2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305384" y="2978331"/>
              <a:ext cx="0" cy="849086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120A9B99-BDCE-F45A-016E-BD76BDC44F3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767834" y="2580221"/>
            <a:ext cx="2328863" cy="329822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z="1800"/>
              <a:t>Insert Title</a:t>
            </a:r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0FBCD15-6189-4A23-AE9A-092A5C276D0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1767834" y="3922137"/>
            <a:ext cx="2328863" cy="1023938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sz="1800"/>
              <a:t>Insert body copy</a:t>
            </a:r>
            <a:endParaRPr lang="en-US"/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516C3B2A-196A-71AD-2525-F772340338BB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4954393" y="2698818"/>
            <a:ext cx="2328863" cy="1023938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sz="1800"/>
              <a:t>Insert body copy</a:t>
            </a:r>
            <a:endParaRPr lang="en-US"/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2CDC9D64-CD68-F1D8-81E1-4E51C820104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954393" y="4781164"/>
            <a:ext cx="2328863" cy="329822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z="1800"/>
              <a:t>Insert Title</a:t>
            </a:r>
            <a:endParaRPr lang="en-US"/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C23FE496-EF81-0FAC-96BE-9B49C887D18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8140952" y="2580221"/>
            <a:ext cx="2328863" cy="329822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z="1800"/>
              <a:t>Insert Title</a:t>
            </a:r>
            <a:endParaRPr lang="en-US"/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172D350F-803B-A8D5-8ECD-416F58C923D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40952" y="3922137"/>
            <a:ext cx="2328863" cy="1023938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 sz="1800"/>
              <a:t>Insert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864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DE31C-6609-C6DC-F9C0-F5E1DF55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5 Next Steps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802634EB-41FB-47A9-90B8-D5B67ECA48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479333" y="2321757"/>
            <a:ext cx="2590800" cy="74181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F045E949-6266-1CAD-E7A7-9450C57CA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183807" y="2321757"/>
            <a:ext cx="2725153" cy="74181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Pentagon 15">
            <a:extLst>
              <a:ext uri="{FF2B5EF4-FFF2-40B4-BE49-F238E27FC236}">
                <a16:creationId xmlns:a16="http://schemas.microsoft.com/office/drawing/2014/main" id="{665AC10B-D833-2155-BBFC-8AE5EA0A89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888282" y="2321757"/>
            <a:ext cx="2725153" cy="74181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DA06CD06-4D6D-87A4-E68A-6C89B2E09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592757" y="2321757"/>
            <a:ext cx="2725153" cy="74181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D3FED6-6B60-C5B0-B887-6760BB56C5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100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C2ECC64-F8C6-1345-ED8F-EF6B7ED435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11351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D322ADB-E0C4-0A63-8396-71C3B32869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03602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AA068DB-E13C-E9D3-ACC4-FBE6A24701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5853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042BF402-EB89-A8C6-734D-04F64BD91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588103" y="3085264"/>
            <a:ext cx="2183480" cy="2871788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97F83FC-33EB-8EC6-D420-853721001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232" y="2321757"/>
            <a:ext cx="2725153" cy="741810"/>
          </a:xfrm>
          <a:custGeom>
            <a:avLst/>
            <a:gdLst>
              <a:gd name="connsiteX0" fmla="*/ 0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0" fmla="*/ 98474 w 2725153"/>
              <a:gd name="connsiteY0" fmla="*/ 14068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14068 h 741810"/>
              <a:gd name="connsiteX0" fmla="*/ 98474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0 h 741810"/>
              <a:gd name="connsiteX0" fmla="*/ 0 w 2626679"/>
              <a:gd name="connsiteY0" fmla="*/ 0 h 741810"/>
              <a:gd name="connsiteX1" fmla="*/ 2255774 w 2626679"/>
              <a:gd name="connsiteY1" fmla="*/ 0 h 741810"/>
              <a:gd name="connsiteX2" fmla="*/ 2626679 w 2626679"/>
              <a:gd name="connsiteY2" fmla="*/ 370905 h 741810"/>
              <a:gd name="connsiteX3" fmla="*/ 2255774 w 2626679"/>
              <a:gd name="connsiteY3" fmla="*/ 741810 h 741810"/>
              <a:gd name="connsiteX4" fmla="*/ 12535 w 2626679"/>
              <a:gd name="connsiteY4" fmla="*/ 741810 h 741810"/>
              <a:gd name="connsiteX5" fmla="*/ 306183 w 2626679"/>
              <a:gd name="connsiteY5" fmla="*/ 381754 h 741810"/>
              <a:gd name="connsiteX6" fmla="*/ 3687 w 2626679"/>
              <a:gd name="connsiteY6" fmla="*/ 10849 h 741810"/>
              <a:gd name="connsiteX7" fmla="*/ 3126 w 2626679"/>
              <a:gd name="connsiteY7" fmla="*/ 4499 h 741810"/>
              <a:gd name="connsiteX8" fmla="*/ 0 w 2626679"/>
              <a:gd name="connsiteY8" fmla="*/ 0 h 741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6679" h="741810">
                <a:moveTo>
                  <a:pt x="0" y="0"/>
                </a:moveTo>
                <a:lnTo>
                  <a:pt x="2255774" y="0"/>
                </a:lnTo>
                <a:lnTo>
                  <a:pt x="2626679" y="370905"/>
                </a:lnTo>
                <a:lnTo>
                  <a:pt x="2255774" y="741810"/>
                </a:lnTo>
                <a:lnTo>
                  <a:pt x="12535" y="741810"/>
                </a:lnTo>
                <a:lnTo>
                  <a:pt x="306183" y="381754"/>
                </a:lnTo>
                <a:lnTo>
                  <a:pt x="3687" y="10849"/>
                </a:lnTo>
                <a:lnTo>
                  <a:pt x="3126" y="4499"/>
                </a:lnTo>
                <a:cubicBezTo>
                  <a:pt x="3126" y="883"/>
                  <a:pt x="0" y="3616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C2D50-BE4D-F99C-0B0C-BE3D87C3A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21FA6-4114-0DC4-1EAD-D97105717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22D90F-2301-5646-089A-15799D5D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788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30B67-659C-7697-5421-909A5FCF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27AD6D11-2BE8-DE48-5819-6F77CF7AA1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295275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0" name="Content Placeholder 28">
            <a:extLst>
              <a:ext uri="{FF2B5EF4-FFF2-40B4-BE49-F238E27FC236}">
                <a16:creationId xmlns:a16="http://schemas.microsoft.com/office/drawing/2014/main" id="{1CF05A26-7D27-E239-CC4A-63A7DDF57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2725426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1" name="Content Placeholder 28">
            <a:extLst>
              <a:ext uri="{FF2B5EF4-FFF2-40B4-BE49-F238E27FC236}">
                <a16:creationId xmlns:a16="http://schemas.microsoft.com/office/drawing/2014/main" id="{57AD2754-B5AD-1324-1A63-EFD85B8268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155993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2" name="Content Placeholder 28">
            <a:extLst>
              <a:ext uri="{FF2B5EF4-FFF2-40B4-BE49-F238E27FC236}">
                <a16:creationId xmlns:a16="http://schemas.microsoft.com/office/drawing/2014/main" id="{82C82E6A-A46A-0AEF-EB73-6E40043A7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7586560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3" name="Content Placeholder 28">
            <a:extLst>
              <a:ext uri="{FF2B5EF4-FFF2-40B4-BE49-F238E27FC236}">
                <a16:creationId xmlns:a16="http://schemas.microsoft.com/office/drawing/2014/main" id="{93156D60-989D-68F0-4C15-0A9C394FA3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10017127" y="2228850"/>
            <a:ext cx="1879600" cy="1200150"/>
          </a:xfrm>
        </p:spPr>
        <p:txBody>
          <a:bodyPr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1B06C2F-53D6-8598-AAB6-E40BE18A1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5410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B50BF4-B0BA-5835-9E78-5977685051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25839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B0D02AD-25F5-A47F-0EF2-1516FA826E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6268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D2B7D219-3A4B-F862-08FD-FA03952D90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86697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1" name="Text Placeholder 16">
            <a:extLst>
              <a:ext uri="{FF2B5EF4-FFF2-40B4-BE49-F238E27FC236}">
                <a16:creationId xmlns:a16="http://schemas.microsoft.com/office/drawing/2014/main" id="{46B508DF-13DD-A5CA-6B03-C9CE9E53E37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17127" y="3514615"/>
            <a:ext cx="1879463" cy="1200328"/>
          </a:xfrm>
        </p:spPr>
        <p:txBody>
          <a:bodyPr/>
          <a:lstStyle>
            <a:lvl1pPr marL="0" indent="0" algn="ctr"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027395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3DE31C-6609-C6DC-F9C0-F5E1DF556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4 Next Steps</a:t>
            </a:r>
          </a:p>
        </p:txBody>
      </p:sp>
      <p:sp>
        <p:nvSpPr>
          <p:cNvPr id="18" name="Arrow: Pentagon 17">
            <a:extLst>
              <a:ext uri="{FF2B5EF4-FFF2-40B4-BE49-F238E27FC236}">
                <a16:creationId xmlns:a16="http://schemas.microsoft.com/office/drawing/2014/main" id="{802634EB-41FB-47A9-90B8-D5B67ECA48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891740" y="2321757"/>
            <a:ext cx="3280289" cy="74181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F045E949-6266-1CAD-E7A7-9450C57CA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7305" y="2321757"/>
            <a:ext cx="3280289" cy="741810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DA06CD06-4D6D-87A4-E68A-6C89B2E09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302869" y="2321757"/>
            <a:ext cx="3280289" cy="74181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ED3FED6-6B60-C5B0-B887-6760BB56C5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7473" y="3063567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0C2ECC64-F8C6-1345-ED8F-EF6B7ED435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61929" y="3063567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AA068DB-E13C-E9D3-ACC4-FBE6A24701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96385" y="3045354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042BF402-EB89-A8C6-734D-04F64BD91A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30840" y="3063567"/>
            <a:ext cx="2542060" cy="2871788"/>
          </a:xfrm>
        </p:spPr>
        <p:txBody>
          <a:bodyPr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97F83FC-33EB-8EC6-D420-853721001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08433" y="2321757"/>
            <a:ext cx="3280289" cy="741810"/>
          </a:xfrm>
          <a:custGeom>
            <a:avLst/>
            <a:gdLst>
              <a:gd name="connsiteX0" fmla="*/ 0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0" fmla="*/ 98474 w 2725153"/>
              <a:gd name="connsiteY0" fmla="*/ 14068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14068 h 741810"/>
              <a:gd name="connsiteX0" fmla="*/ 98474 w 2725153"/>
              <a:gd name="connsiteY0" fmla="*/ 0 h 741810"/>
              <a:gd name="connsiteX1" fmla="*/ 2354248 w 2725153"/>
              <a:gd name="connsiteY1" fmla="*/ 0 h 741810"/>
              <a:gd name="connsiteX2" fmla="*/ 2725153 w 2725153"/>
              <a:gd name="connsiteY2" fmla="*/ 370905 h 741810"/>
              <a:gd name="connsiteX3" fmla="*/ 2354248 w 2725153"/>
              <a:gd name="connsiteY3" fmla="*/ 741810 h 741810"/>
              <a:gd name="connsiteX4" fmla="*/ 111009 w 2725153"/>
              <a:gd name="connsiteY4" fmla="*/ 741810 h 741810"/>
              <a:gd name="connsiteX5" fmla="*/ 404657 w 2725153"/>
              <a:gd name="connsiteY5" fmla="*/ 381754 h 741810"/>
              <a:gd name="connsiteX6" fmla="*/ 102161 w 2725153"/>
              <a:gd name="connsiteY6" fmla="*/ 10849 h 741810"/>
              <a:gd name="connsiteX7" fmla="*/ 0 w 2725153"/>
              <a:gd name="connsiteY7" fmla="*/ 10849 h 741810"/>
              <a:gd name="connsiteX8" fmla="*/ 98474 w 2725153"/>
              <a:gd name="connsiteY8" fmla="*/ 0 h 741810"/>
              <a:gd name="connsiteX0" fmla="*/ 0 w 2626679"/>
              <a:gd name="connsiteY0" fmla="*/ 0 h 741810"/>
              <a:gd name="connsiteX1" fmla="*/ 2255774 w 2626679"/>
              <a:gd name="connsiteY1" fmla="*/ 0 h 741810"/>
              <a:gd name="connsiteX2" fmla="*/ 2626679 w 2626679"/>
              <a:gd name="connsiteY2" fmla="*/ 370905 h 741810"/>
              <a:gd name="connsiteX3" fmla="*/ 2255774 w 2626679"/>
              <a:gd name="connsiteY3" fmla="*/ 741810 h 741810"/>
              <a:gd name="connsiteX4" fmla="*/ 12535 w 2626679"/>
              <a:gd name="connsiteY4" fmla="*/ 741810 h 741810"/>
              <a:gd name="connsiteX5" fmla="*/ 306183 w 2626679"/>
              <a:gd name="connsiteY5" fmla="*/ 381754 h 741810"/>
              <a:gd name="connsiteX6" fmla="*/ 3687 w 2626679"/>
              <a:gd name="connsiteY6" fmla="*/ 10849 h 741810"/>
              <a:gd name="connsiteX7" fmla="*/ 3126 w 2626679"/>
              <a:gd name="connsiteY7" fmla="*/ 4499 h 741810"/>
              <a:gd name="connsiteX8" fmla="*/ 0 w 2626679"/>
              <a:gd name="connsiteY8" fmla="*/ 0 h 741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6679" h="741810">
                <a:moveTo>
                  <a:pt x="0" y="0"/>
                </a:moveTo>
                <a:lnTo>
                  <a:pt x="2255774" y="0"/>
                </a:lnTo>
                <a:lnTo>
                  <a:pt x="2626679" y="370905"/>
                </a:lnTo>
                <a:lnTo>
                  <a:pt x="2255774" y="741810"/>
                </a:lnTo>
                <a:lnTo>
                  <a:pt x="12535" y="741810"/>
                </a:lnTo>
                <a:lnTo>
                  <a:pt x="306183" y="381754"/>
                </a:lnTo>
                <a:lnTo>
                  <a:pt x="3687" y="10849"/>
                </a:lnTo>
                <a:lnTo>
                  <a:pt x="3126" y="4499"/>
                </a:lnTo>
                <a:cubicBezTo>
                  <a:pt x="3126" y="883"/>
                  <a:pt x="0" y="3616"/>
                  <a:pt x="0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EC2D50-BE4D-F99C-0B0C-BE3D87C3A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D021FA6-4114-0DC4-1EAD-D97105717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22D90F-2301-5646-089A-15799D5DD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1647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79015-6037-42AB-A911-E14A4A51C6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170" y="262444"/>
            <a:ext cx="9188155" cy="796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965E1D-5246-4BD8-9B82-F25D6124E4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13045" y="1459502"/>
            <a:ext cx="5157787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E0532D-3DCA-435E-87F8-906FA800E89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3045" y="2487168"/>
            <a:ext cx="5157787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00139B-3F01-4FDB-BA7A-CD6796ECA16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589712" y="1459502"/>
            <a:ext cx="5183188" cy="823912"/>
          </a:xfrm>
        </p:spPr>
        <p:txBody>
          <a:bodyPr anchor="b">
            <a:noAutofit/>
          </a:bodyPr>
          <a:lstStyle>
            <a:lvl1pPr marL="0" indent="0" algn="l">
              <a:buNone/>
              <a:defRPr sz="2800" b="1" spc="0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0BAEC4-DE7C-4193-B9FA-D5FE8DCA65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589712" y="2487168"/>
            <a:ext cx="5183188" cy="3480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E2A867-B7F9-400F-B53F-72E20DC489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33E19-47CE-4A9D-9597-EBC712FBC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C1FDE4-045D-4151-A400-75E6F6485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B5A145B-F29E-006D-1556-1F96678A7A0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59502"/>
            <a:ext cx="0" cy="46364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58765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11/18/2019     ‹#›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72642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40613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9479"/>
            <a:ext cx="9144000" cy="5857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B7CB8E8-4F59-27E5-41EA-F11F5852973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8324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78E72E2-0F49-4EC9-902A-6AFEF475C0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391"/>
            <a:ext cx="4265642" cy="41970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CCA6DA2-03B4-453C-AE21-F10F36CD0F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529" r="17529"/>
          <a:stretch/>
        </p:blipFill>
        <p:spPr>
          <a:xfrm>
            <a:off x="4051372" y="0"/>
            <a:ext cx="4086842" cy="41970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7489A59-16E6-478A-B860-F1CC4CE7B14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0629" y="0"/>
            <a:ext cx="4053789" cy="41970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11D66F-9922-4A43-9089-7CD1FEF02C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1581" y="4540613"/>
            <a:ext cx="9144000" cy="105505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621C16-E792-418B-9143-7A8B318AC0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1581" y="5619479"/>
            <a:ext cx="9144000" cy="585787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38D3DD-BED1-4659-B705-A3A6A53228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-4838" y="4057477"/>
            <a:ext cx="12196838" cy="1603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DFDA653-4505-430C-9148-4BDB753BDE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0" y="4057477"/>
            <a:ext cx="405137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EF1AFCC-611A-4C69-B507-AA093C290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>
          <a:xfrm>
            <a:off x="8145460" y="4057477"/>
            <a:ext cx="4051377" cy="1609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0A0C1F-E035-47ED-AB47-2DF84FC50AD0}"/>
              </a:ext>
            </a:extLst>
          </p:cNvPr>
          <p:cNvSpPr/>
          <p:nvPr userDrawn="1"/>
        </p:nvSpPr>
        <p:spPr>
          <a:xfrm>
            <a:off x="-1" y="278467"/>
            <a:ext cx="5035139" cy="125972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764CAB7-8A67-E328-DE4D-CEF29A3141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568" y="503392"/>
            <a:ext cx="3753635" cy="859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83741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95D06D-DA63-4DDC-82A9-6354941E7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EDF4B1-44D8-438C-A0D2-5E50A2270D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9393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63605E-63A3-44EF-8FE0-D7C81552DE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81572" y="1535167"/>
            <a:ext cx="5181600" cy="4351338"/>
          </a:xfrm>
        </p:spPr>
        <p:txBody>
          <a:bodyPr anchor="ctr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37BA6D-103A-4630-B671-67CDA59CEC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AB32-BE43-4FB9-9458-D139DB524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05EDC1-6DD2-47C3-AD8C-9CFFD2028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44720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ist w title and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30B67-659C-7697-5421-909A5FCF0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27AD6D11-2BE8-DE48-5819-6F77CF7AA1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166938" y="1652337"/>
            <a:ext cx="277569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0" name="Content Placeholder 28">
            <a:extLst>
              <a:ext uri="{FF2B5EF4-FFF2-40B4-BE49-F238E27FC236}">
                <a16:creationId xmlns:a16="http://schemas.microsoft.com/office/drawing/2014/main" id="{1CF05A26-7D27-E239-CC4A-63A7DDF570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3197068" y="1652337"/>
            <a:ext cx="277569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1" name="Content Placeholder 28">
            <a:extLst>
              <a:ext uri="{FF2B5EF4-FFF2-40B4-BE49-F238E27FC236}">
                <a16:creationId xmlns:a16="http://schemas.microsoft.com/office/drawing/2014/main" id="{57AD2754-B5AD-1324-1A63-EFD85B8268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227198" y="1652337"/>
            <a:ext cx="277569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32" name="Content Placeholder 28">
            <a:extLst>
              <a:ext uri="{FF2B5EF4-FFF2-40B4-BE49-F238E27FC236}">
                <a16:creationId xmlns:a16="http://schemas.microsoft.com/office/drawing/2014/main" id="{82C82E6A-A46A-0AEF-EB73-6E40043A72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9257328" y="1652337"/>
            <a:ext cx="2752876" cy="1503947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en-US"/>
              <a:t>Insert Ic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1B06C2F-53D6-8598-AAB6-E40BE18A1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073" y="3241899"/>
            <a:ext cx="2775697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1DB50BF4-B0BA-5835-9E78-5977685051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98010" y="3241899"/>
            <a:ext cx="2775697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5B0D02AD-25F5-A47F-0EF2-1516FA826E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27199" y="3241899"/>
            <a:ext cx="2776639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D2B7D219-3A4B-F862-08FD-FA03952D90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57329" y="3241899"/>
            <a:ext cx="2752875" cy="608206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 b="1"/>
            </a:lvl1pPr>
            <a:lvl2pPr marL="320040" indent="0">
              <a:buNone/>
              <a:defRPr/>
            </a:lvl2pPr>
            <a:lvl3pPr marL="777240" indent="0">
              <a:buNone/>
              <a:defRPr/>
            </a:lvl3pPr>
            <a:lvl4pPr marL="1234440" indent="0">
              <a:buNone/>
              <a:defRPr/>
            </a:lvl4pPr>
            <a:lvl5pPr marL="1691640" indent="0">
              <a:buNone/>
              <a:defRPr/>
            </a:lvl5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E136C7-10F7-0312-2BF4-C60048AEDB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6937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D2709BA-EBF6-8560-40DE-F2276EA7C92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197068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24872E5-5F98-F60A-3FE1-D49B7E24E2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7199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520FBFB-5344-1A9B-828E-EE33FF7FF56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57329" y="4010359"/>
            <a:ext cx="2776639" cy="2297113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800"/>
            </a:lvl1pPr>
            <a:lvl2pPr marL="320040" indent="0">
              <a:buNone/>
              <a:defRPr sz="1800"/>
            </a:lvl2pPr>
            <a:lvl3pPr marL="777240" indent="0">
              <a:buNone/>
              <a:defRPr sz="1800"/>
            </a:lvl3pPr>
            <a:lvl4pPr marL="1234440" indent="0">
              <a:buNone/>
              <a:defRPr sz="1800"/>
            </a:lvl4pPr>
            <a:lvl5pPr marL="1691640" indent="0">
              <a:buNone/>
              <a:defRPr sz="1800"/>
            </a:lvl5pPr>
          </a:lstStyle>
          <a:p>
            <a:pPr lvl="0"/>
            <a:r>
              <a:rPr lang="en-US"/>
              <a:t>Click to insert body copy.</a:t>
            </a:r>
          </a:p>
        </p:txBody>
      </p:sp>
    </p:spTree>
    <p:extLst>
      <p:ext uri="{BB962C8B-B14F-4D97-AF65-F5344CB8AC3E}">
        <p14:creationId xmlns:p14="http://schemas.microsoft.com/office/powerpoint/2010/main" val="41418355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5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48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60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59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theme" Target="../theme/theme9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FFABC-2920-441D-BDCA-82242005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2" y="3657600"/>
            <a:ext cx="11373507" cy="176257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E0269-1405-4BE8-9A45-4EECDEB9D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393" y="5420172"/>
            <a:ext cx="11373507" cy="5670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75235-F02C-42D0-95D5-49091BC62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9394" y="6356350"/>
            <a:ext cx="90388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8B2256DE-71AA-4E74-8EC3-825DD6B6375A}" type="datetimeFigureOut">
              <a:rPr lang="en-US" smtClean="0"/>
              <a:pPr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A961-A1EE-49A4-B442-B0FDE795C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08738-CC4F-4697-9630-08EB3B683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8717" y="6345780"/>
            <a:ext cx="88418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C6E4BDD0-73F1-41FC-8F97-117C328D35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357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0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 spc="3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A98C8669-7C07-4C79-BB45-049280D12C7C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FFABC-2920-441D-BDCA-82242005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8467"/>
            <a:ext cx="9201807" cy="7868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E0269-1405-4BE8-9A45-4EECDEB9D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393" y="1538189"/>
            <a:ext cx="11373507" cy="44490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75235-F02C-42D0-95D5-49091BC62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9394" y="6356350"/>
            <a:ext cx="90388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A961-A1EE-49A4-B442-B0FDE795C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08738-CC4F-4697-9630-08EB3B683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8717" y="6345780"/>
            <a:ext cx="88418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54A4D4-C151-4829-8672-ADA4B6580EED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5FC25F-6670-44F8-B8B5-A1AFAFE950DC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74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7" r:id="rId3"/>
    <p:sldLayoutId id="2147483678" r:id="rId4"/>
    <p:sldLayoutId id="2147483680" r:id="rId5"/>
    <p:sldLayoutId id="2147483692" r:id="rId6"/>
    <p:sldLayoutId id="2147483693" r:id="rId7"/>
    <p:sldLayoutId id="2147483683" r:id="rId8"/>
    <p:sldLayoutId id="2147483684" r:id="rId9"/>
    <p:sldLayoutId id="2147483681" r:id="rId10"/>
    <p:sldLayoutId id="2147483686" r:id="rId11"/>
    <p:sldLayoutId id="2147483709" r:id="rId12"/>
    <p:sldLayoutId id="2147483701" r:id="rId13"/>
    <p:sldLayoutId id="2147483708" r:id="rId14"/>
    <p:sldLayoutId id="2147483691" r:id="rId15"/>
    <p:sldLayoutId id="2147483698" r:id="rId16"/>
    <p:sldLayoutId id="2147483699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5125" indent="-393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801688" indent="-34448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0950" indent="-3365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52588" indent="-28098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313C9D-1EF4-4280-AB04-B91E7BC84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E867E4-1FDD-4610-A0B6-3C9F9ECD7E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802203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661" r:id="rId3"/>
    <p:sldLayoutId id="2147483682" r:id="rId4"/>
    <p:sldLayoutId id="2147483685" r:id="rId5"/>
    <p:sldLayoutId id="2147483687" r:id="rId6"/>
    <p:sldLayoutId id="2147483697" r:id="rId7"/>
    <p:sldLayoutId id="2147483707" r:id="rId8"/>
    <p:sldLayoutId id="2147483736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A98C8669-7C07-4C79-BB45-049280D12C7C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FFABC-2920-441D-BDCA-82242005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8467"/>
            <a:ext cx="9201807" cy="7868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E0269-1405-4BE8-9A45-4EECDEB9D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393" y="1538189"/>
            <a:ext cx="11373507" cy="4449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75235-F02C-42D0-95D5-49091BC62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9394" y="6356350"/>
            <a:ext cx="9038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A961-A1EE-49A4-B442-B0FDE795C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08738-CC4F-4697-9630-08EB3B683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8717" y="6345780"/>
            <a:ext cx="8841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54A4D4-C151-4829-8672-ADA4B6580EE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5FC25F-6670-44F8-B8B5-A1AFAFE950DC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477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A98C8669-7C07-4C79-BB45-049280D12C7C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FFABC-2920-441D-BDCA-82242005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8467"/>
            <a:ext cx="9201807" cy="7868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E0269-1405-4BE8-9A45-4EECDEB9D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393" y="1538189"/>
            <a:ext cx="11373507" cy="4449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75235-F02C-42D0-95D5-49091BC62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9394" y="6356350"/>
            <a:ext cx="9038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A961-A1EE-49A4-B442-B0FDE795C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08738-CC4F-4697-9630-08EB3B683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8717" y="6345780"/>
            <a:ext cx="8841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54A4D4-C151-4829-8672-ADA4B6580EE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5FC25F-6670-44F8-B8B5-A1AFAFE950DC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213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A98C8669-7C07-4C79-BB45-049280D12C7C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FFABC-2920-441D-BDCA-82242005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8467"/>
            <a:ext cx="9201807" cy="7868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E0269-1405-4BE8-9A45-4EECDEB9D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393" y="1538189"/>
            <a:ext cx="11373507" cy="4449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75235-F02C-42D0-95D5-49091BC62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9394" y="6356350"/>
            <a:ext cx="9038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A961-A1EE-49A4-B442-B0FDE795C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08738-CC4F-4697-9630-08EB3B683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8717" y="6345780"/>
            <a:ext cx="8841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54A4D4-C151-4829-8672-ADA4B6580EE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5FC25F-6670-44F8-B8B5-A1AFAFE950DC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852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313C9D-1EF4-4280-AB04-B91E7BC84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E867E4-1FDD-4610-A0B6-3C9F9ECD7E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166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82F547E-3C6B-426B-1C47-7B1DCE8031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17024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82F547E-3C6B-426B-1C47-7B1DCE8031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>
            <a:extLst>
              <a:ext uri="{FF2B5EF4-FFF2-40B4-BE49-F238E27FC236}">
                <a16:creationId xmlns:a16="http://schemas.microsoft.com/office/drawing/2014/main" id="{A98C8669-7C07-4C79-BB45-049280D12C7C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FFABC-2920-441D-BDCA-82242005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8467"/>
            <a:ext cx="9201807" cy="7868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E0269-1405-4BE8-9A45-4EECDEB9D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393" y="1538189"/>
            <a:ext cx="11373507" cy="4449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75235-F02C-42D0-95D5-49091BC62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9394" y="6356350"/>
            <a:ext cx="90388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A961-A1EE-49A4-B442-B0FDE795C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08738-CC4F-4697-9630-08EB3B683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8717" y="6345780"/>
            <a:ext cx="8841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54A4D4-C151-4829-8672-ADA4B6580EE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5FC25F-6670-44F8-B8B5-A1AFAFE950DC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54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A98C8669-7C07-4C79-BB45-049280D12C7C}"/>
              </a:ext>
            </a:extLst>
          </p:cNvPr>
          <p:cNvSpPr/>
          <p:nvPr userDrawn="1"/>
        </p:nvSpPr>
        <p:spPr>
          <a:xfrm>
            <a:off x="-4838" y="277792"/>
            <a:ext cx="9623400" cy="7875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9FFABC-2920-441D-BDCA-822420053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393" y="278467"/>
            <a:ext cx="9201807" cy="7868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CE0269-1405-4BE8-9A45-4EECDEB9D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9393" y="1538189"/>
            <a:ext cx="11373507" cy="44490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B75235-F02C-42D0-95D5-49091BC628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99394" y="6356350"/>
            <a:ext cx="903889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256DE-71AA-4E74-8EC3-825DD6B6375A}" type="datetimeFigureOut">
              <a:rPr lang="en-US" smtClean="0"/>
              <a:t>4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06A961-A1EE-49A4-B442-B0FDE795C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08738-CC4F-4697-9630-08EB3B683A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88717" y="6345780"/>
            <a:ext cx="88418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E4BDD0-73F1-41FC-8F97-117C328D350D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54A4D4-C151-4829-8672-ADA4B6580EED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20383" y="432790"/>
            <a:ext cx="2136668" cy="48911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5FC25F-6670-44F8-B8B5-A1AFAFE950DC}"/>
              </a:ext>
            </a:extLst>
          </p:cNvPr>
          <p:cNvSpPr/>
          <p:nvPr userDrawn="1"/>
        </p:nvSpPr>
        <p:spPr>
          <a:xfrm>
            <a:off x="-4838" y="6721475"/>
            <a:ext cx="12196838" cy="136525"/>
          </a:xfrm>
          <a:prstGeom prst="rect">
            <a:avLst/>
          </a:prstGeom>
          <a:gradFill>
            <a:gsLst>
              <a:gs pos="76000">
                <a:schemeClr val="accent1"/>
              </a:gs>
              <a:gs pos="48000">
                <a:schemeClr val="accent1"/>
              </a:gs>
              <a:gs pos="0">
                <a:schemeClr val="accent1"/>
              </a:gs>
              <a:gs pos="68000">
                <a:schemeClr val="accent2"/>
              </a:gs>
              <a:gs pos="60000">
                <a:schemeClr val="accent3"/>
              </a:gs>
              <a:gs pos="10000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35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65125" indent="-393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801688" indent="-34448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0950" indent="-3365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52588" indent="-280988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sv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70.svg"/><Relationship Id="rId5" Type="http://schemas.openxmlformats.org/officeDocument/2006/relationships/image" Target="../media/image69.png"/><Relationship Id="rId4" Type="http://schemas.openxmlformats.org/officeDocument/2006/relationships/image" Target="../media/image68.sv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svg"/><Relationship Id="rId13" Type="http://schemas.openxmlformats.org/officeDocument/2006/relationships/image" Target="../media/image6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12" Type="http://schemas.openxmlformats.org/officeDocument/2006/relationships/image" Target="../media/image5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82.sv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76.svg"/><Relationship Id="rId11" Type="http://schemas.openxmlformats.org/officeDocument/2006/relationships/image" Target="../media/image4.png"/><Relationship Id="rId5" Type="http://schemas.openxmlformats.org/officeDocument/2006/relationships/image" Target="../media/image75.png"/><Relationship Id="rId15" Type="http://schemas.openxmlformats.org/officeDocument/2006/relationships/image" Target="../media/image81.png"/><Relationship Id="rId10" Type="http://schemas.openxmlformats.org/officeDocument/2006/relationships/image" Target="../media/image80.svg"/><Relationship Id="rId4" Type="http://schemas.openxmlformats.org/officeDocument/2006/relationships/image" Target="../media/image74.svg"/><Relationship Id="rId9" Type="http://schemas.openxmlformats.org/officeDocument/2006/relationships/image" Target="../media/image79.png"/><Relationship Id="rId14" Type="http://schemas.openxmlformats.org/officeDocument/2006/relationships/image" Target="../media/image7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svg"/><Relationship Id="rId7" Type="http://schemas.openxmlformats.org/officeDocument/2006/relationships/image" Target="../media/image88.sv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7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hyperlink" Target="https://tea.texas.gov/about-tea/other-services/secure-applications/teal-account-and-password-help" TargetMode="External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93.svg"/><Relationship Id="rId3" Type="http://schemas.openxmlformats.org/officeDocument/2006/relationships/image" Target="../media/image76.svg"/><Relationship Id="rId7" Type="http://schemas.openxmlformats.org/officeDocument/2006/relationships/image" Target="../media/image5.svg"/><Relationship Id="rId12" Type="http://schemas.openxmlformats.org/officeDocument/2006/relationships/image" Target="../media/image92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4.png"/><Relationship Id="rId11" Type="http://schemas.openxmlformats.org/officeDocument/2006/relationships/image" Target="../media/image82.svg"/><Relationship Id="rId5" Type="http://schemas.openxmlformats.org/officeDocument/2006/relationships/image" Target="../media/image80.svg"/><Relationship Id="rId15" Type="http://schemas.openxmlformats.org/officeDocument/2006/relationships/image" Target="../media/image95.svg"/><Relationship Id="rId10" Type="http://schemas.openxmlformats.org/officeDocument/2006/relationships/image" Target="../media/image81.png"/><Relationship Id="rId4" Type="http://schemas.openxmlformats.org/officeDocument/2006/relationships/image" Target="../media/image79.png"/><Relationship Id="rId9" Type="http://schemas.openxmlformats.org/officeDocument/2006/relationships/image" Target="../media/image7.svg"/><Relationship Id="rId14" Type="http://schemas.openxmlformats.org/officeDocument/2006/relationships/image" Target="../media/image9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zoom.us/meeting/register/tJAqfu-vqzorH9ZARXO4mQM9pIJ0WNnUTQTV" TargetMode="Externa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4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mailto:TIA@tea.Texas.gov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hyperlink" Target="https://tiatexas.org/wp-content/uploads/2023/11/guidance_districts_hiring_dteacher_5.22.2023-2.pdf" TargetMode="External"/><Relationship Id="rId7" Type="http://schemas.openxmlformats.org/officeDocument/2006/relationships/hyperlink" Target="https://tiatexas.org/resources/teacher-celebratory-materials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tiatexas.org/resources/teacher-communication-templates/" TargetMode="External"/><Relationship Id="rId5" Type="http://schemas.openxmlformats.org/officeDocument/2006/relationships/image" Target="../media/image50.png"/><Relationship Id="rId4" Type="http://schemas.openxmlformats.org/officeDocument/2006/relationships/hyperlink" Target="https://tiatexas.org/for-districts/components-of-a-system/teacher-compensation-plan/" TargetMode="External"/><Relationship Id="rId9" Type="http://schemas.openxmlformats.org/officeDocument/2006/relationships/image" Target="../media/image52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hyperlink" Target="mailto:tia@tea.Texas.gov" TargetMode="External"/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4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4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4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4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hyperlink" Target="https://tiatexas.org/attestations/" TargetMode="External"/><Relationship Id="rId1" Type="http://schemas.openxmlformats.org/officeDocument/2006/relationships/slideLayout" Target="../slideLayouts/slideLayout4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4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2.png"/><Relationship Id="rId4" Type="http://schemas.openxmlformats.org/officeDocument/2006/relationships/image" Target="../media/image111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14.pn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svg"/><Relationship Id="rId7" Type="http://schemas.openxmlformats.org/officeDocument/2006/relationships/image" Target="../media/image58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7.png"/><Relationship Id="rId11" Type="http://schemas.openxmlformats.org/officeDocument/2006/relationships/image" Target="../media/image62.svg"/><Relationship Id="rId5" Type="http://schemas.openxmlformats.org/officeDocument/2006/relationships/image" Target="../media/image56.sv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sv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hyperlink" Target="https://tealprod.tea.state.tx.us/Tea.Scoms.Web/External/Search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18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6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6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11797-0ABC-4E99-B8BB-B75FDB48775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Verifying and Confirming 2023-24 Allotmen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1C8455-96F2-41C2-8867-3CF422F05D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or Districts Employing Designated Teachers</a:t>
            </a:r>
          </a:p>
        </p:txBody>
      </p:sp>
    </p:spTree>
    <p:extLst>
      <p:ext uri="{BB962C8B-B14F-4D97-AF65-F5344CB8AC3E}">
        <p14:creationId xmlns:p14="http://schemas.microsoft.com/office/powerpoint/2010/main" val="1699362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950D47-3217-11F8-A68C-63F7D7BB4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active Funding Map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DA2879D-6716-D42F-6244-325B70F063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7657" y="1854287"/>
            <a:ext cx="6046143" cy="4351338"/>
          </a:xfrm>
        </p:spPr>
        <p:txBody>
          <a:bodyPr/>
          <a:lstStyle/>
          <a:p>
            <a:r>
              <a:rPr lang="en-US"/>
              <a:t>Allotment values by district and campus</a:t>
            </a:r>
          </a:p>
          <a:p>
            <a:r>
              <a:rPr lang="en-US"/>
              <a:t>2023-24 campus values for each designation level</a:t>
            </a:r>
          </a:p>
          <a:p>
            <a:r>
              <a:rPr lang="en-US"/>
              <a:t>Campus allotments may shift from year to year based on student demographics</a:t>
            </a:r>
          </a:p>
        </p:txBody>
      </p:sp>
      <p:pic>
        <p:nvPicPr>
          <p:cNvPr id="6" name="Picture 5" descr="allotment map screenshot">
            <a:extLst>
              <a:ext uri="{FF2B5EF4-FFF2-40B4-BE49-F238E27FC236}">
                <a16:creationId xmlns:a16="http://schemas.microsoft.com/office/drawing/2014/main" id="{47F6CFA0-85E9-0695-653E-CE71B284E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2125" y="1529084"/>
            <a:ext cx="4070426" cy="4676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6862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3AA8D6-27F7-4C3C-8641-22C529A68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llotment Funding Distribution</a:t>
            </a:r>
          </a:p>
        </p:txBody>
      </p:sp>
      <p:graphicFrame>
        <p:nvGraphicFramePr>
          <p:cNvPr id="8" name="Content Placeholder 7" descr="Pie chart of 90/10 rule">
            <a:extLst>
              <a:ext uri="{FF2B5EF4-FFF2-40B4-BE49-F238E27FC236}">
                <a16:creationId xmlns:a16="http://schemas.microsoft.com/office/drawing/2014/main" id="{9F48A66C-699F-4514-8EEE-A70FBC5471FB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252826917"/>
              </p:ext>
            </p:extLst>
          </p:nvPr>
        </p:nvGraphicFramePr>
        <p:xfrm>
          <a:off x="400050" y="1825625"/>
          <a:ext cx="5181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3C44EC5-FFA5-460A-B3AF-02C3B0EA7C18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5854890" y="1825625"/>
            <a:ext cx="5808282" cy="4351338"/>
          </a:xfrm>
        </p:spPr>
        <p:txBody>
          <a:bodyPr>
            <a:normAutofit/>
          </a:bodyPr>
          <a:lstStyle/>
          <a:p>
            <a:pPr marL="0" indent="0" algn="l">
              <a:lnSpc>
                <a:spcPct val="100000"/>
              </a:lnSpc>
              <a:buNone/>
            </a:pPr>
            <a:r>
              <a:rPr lang="en-US" sz="3600" b="1">
                <a:solidFill>
                  <a:schemeClr val="accent2"/>
                </a:solidFill>
              </a:rPr>
              <a:t>90% </a:t>
            </a:r>
            <a:r>
              <a:rPr lang="en-US" i="1"/>
              <a:t>must</a:t>
            </a:r>
            <a:r>
              <a:rPr lang="en-US"/>
              <a:t> go to teacher pay on the campus the designated teacher works. </a:t>
            </a:r>
          </a:p>
          <a:p>
            <a:pPr marL="0" indent="0" algn="l">
              <a:lnSpc>
                <a:spcPct val="100000"/>
              </a:lnSpc>
              <a:buNone/>
            </a:pPr>
            <a:endParaRPr lang="en-US"/>
          </a:p>
          <a:p>
            <a:pPr marL="0" indent="0" algn="l">
              <a:lnSpc>
                <a:spcPct val="100000"/>
              </a:lnSpc>
              <a:buNone/>
            </a:pPr>
            <a:r>
              <a:rPr lang="en-US" sz="3600" b="1">
                <a:solidFill>
                  <a:schemeClr val="accent1"/>
                </a:solidFill>
              </a:rPr>
              <a:t>10% </a:t>
            </a:r>
            <a:r>
              <a:rPr lang="en-US" i="1"/>
              <a:t>may</a:t>
            </a:r>
            <a:r>
              <a:rPr lang="en-US"/>
              <a:t> be used to implement a local designation system or to support teachers in earning a designation.</a:t>
            </a:r>
          </a:p>
        </p:txBody>
      </p:sp>
    </p:spTree>
    <p:extLst>
      <p:ext uri="{BB962C8B-B14F-4D97-AF65-F5344CB8AC3E}">
        <p14:creationId xmlns:p14="http://schemas.microsoft.com/office/powerpoint/2010/main" val="12440497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FC7B5-A67F-98CC-6BF7-A55866154C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AQ: Fun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6202F4-BCE6-01AF-3EE2-5ACCA09C7D6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ow does our district receive funds to pay teacher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93651C-3187-C12F-B819-38E365A69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Funds are awarded through the Foundation School Program. </a:t>
            </a:r>
            <a:r>
              <a:rPr lang="en-US" b="1"/>
              <a:t>They will not arrive as a separate payment.</a:t>
            </a:r>
            <a:r>
              <a:rPr lang="en-US"/>
              <a:t> Districts must spend all funds by August 31, 2024. For districts receiving funds for the first time, funds will arrive as a </a:t>
            </a:r>
            <a:r>
              <a:rPr lang="en-US" b="1"/>
              <a:t>reimbursement</a:t>
            </a:r>
            <a:r>
              <a:rPr lang="en-US"/>
              <a:t> in September 2024.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0148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0F10120-B5F0-B61C-EC34-0B33B96E8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llotment Basic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D39F9AA-B2BF-A4BB-054F-D7A68D33B3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267" y="1474021"/>
            <a:ext cx="11373507" cy="4449032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District allotments are distributed through the Foundation School Program; no action is required to receive the funds once the allotment is confirmed, including fee reimbursements</a:t>
            </a:r>
          </a:p>
          <a:p>
            <a:r>
              <a:rPr lang="en-US" dirty="0"/>
              <a:t>No PIC codes for TIA funds</a:t>
            </a:r>
          </a:p>
          <a:p>
            <a:r>
              <a:rPr lang="en-US" dirty="0"/>
              <a:t>All funds are TRS eligible</a:t>
            </a:r>
          </a:p>
          <a:p>
            <a:r>
              <a:rPr lang="en-US" dirty="0"/>
              <a:t>Districts must spend all funds by August 31</a:t>
            </a:r>
            <a:r>
              <a:rPr lang="en-US" baseline="30000" dirty="0"/>
              <a:t>st</a:t>
            </a:r>
            <a:r>
              <a:rPr lang="en-US" dirty="0"/>
              <a:t> </a:t>
            </a:r>
          </a:p>
          <a:p>
            <a:r>
              <a:rPr lang="en-US" dirty="0"/>
              <a:t>Spending Plan (for districts without a local designation system)</a:t>
            </a:r>
          </a:p>
          <a:p>
            <a:pPr lvl="1"/>
            <a:r>
              <a:rPr lang="en-US" dirty="0"/>
              <a:t>Percentage to be awarded to the designated teacher </a:t>
            </a:r>
          </a:p>
          <a:p>
            <a:pPr lvl="1"/>
            <a:r>
              <a:rPr lang="en-US" dirty="0"/>
              <a:t>Estimated timeline for payout</a:t>
            </a:r>
          </a:p>
          <a:p>
            <a:pPr lvl="1"/>
            <a:r>
              <a:rPr lang="en-US" dirty="0"/>
              <a:t>Policy for teachers who resign or retire before the payout date</a:t>
            </a:r>
          </a:p>
          <a:p>
            <a:r>
              <a:rPr lang="en-US" dirty="0"/>
              <a:t>Spending resources in Google Drive</a:t>
            </a: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2070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70FDA-FA78-4332-9F4C-180955A7FD6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2023-24 Designations and Allotments</a:t>
            </a:r>
          </a:p>
        </p:txBody>
      </p:sp>
    </p:spTree>
    <p:extLst>
      <p:ext uri="{BB962C8B-B14F-4D97-AF65-F5344CB8AC3E}">
        <p14:creationId xmlns:p14="http://schemas.microsoft.com/office/powerpoint/2010/main" val="36057889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A8323-AA10-29D7-137E-FB9D2DC78B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Designation and Allotment Eligi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A36346-D9DB-6CD4-E84C-DA2D3DCD2E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6857" y="1455938"/>
            <a:ext cx="10369119" cy="462526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sz="240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Reported as a teacher in Class Roster Winter Submission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</a:rPr>
              <a:t>with </a:t>
            </a:r>
            <a:r>
              <a:rPr lang="en-US" kern="1200">
                <a:solidFill>
                  <a:schemeClr val="tx1"/>
                </a:solidFill>
                <a:ea typeface="+mn-ea"/>
              </a:rPr>
              <a:t>Role ID of 087-Teacher. </a:t>
            </a:r>
            <a:r>
              <a:rPr lang="en-US"/>
              <a:t>All teaching assignments are eligible. </a:t>
            </a:r>
            <a:endParaRPr lang="en-US" sz="1800" b="0" i="1">
              <a:solidFill>
                <a:srgbClr val="242424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/>
            </a:pPr>
            <a:endParaRPr lang="en-US" sz="1800" i="1">
              <a:solidFill>
                <a:srgbClr val="24242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1800" b="0" i="1" u="none" strike="noStrike" kern="1200" cap="none" spc="0" normalizeH="0" baseline="0">
              <a:ln>
                <a:noFill/>
              </a:ln>
              <a:solidFill>
                <a:srgbClr val="24242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Reported in the Class Roster Winter Submission as having met </a:t>
            </a:r>
            <a:r>
              <a:rPr kumimoji="0" lang="en-US" b="0" i="1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or will meet 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a creditable year of service (YOS) by the end of the contracted school yea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</a:rPr>
              <a:t>If a teacher moves districts during the school year, Class Roster Winter Submission determines which LEA will receive the funds, if any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US" kern="1200">
              <a:ea typeface="+mn-e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+mn-ea"/>
            </a:endParaRPr>
          </a:p>
        </p:txBody>
      </p:sp>
      <p:pic>
        <p:nvPicPr>
          <p:cNvPr id="14" name="Graphic 13" descr="Calendar Icon">
            <a:extLst>
              <a:ext uri="{FF2B5EF4-FFF2-40B4-BE49-F238E27FC236}">
                <a16:creationId xmlns:a16="http://schemas.microsoft.com/office/drawing/2014/main" id="{C1374A6B-9CB7-B393-2310-E58A562D44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399392" y="3429000"/>
            <a:ext cx="1105787" cy="1105787"/>
          </a:xfrm>
          <a:prstGeom prst="rect">
            <a:avLst/>
          </a:prstGeom>
        </p:spPr>
      </p:pic>
      <p:pic>
        <p:nvPicPr>
          <p:cNvPr id="15" name="Graphic 14" descr="Teacher instructing students icon">
            <a:extLst>
              <a:ext uri="{FF2B5EF4-FFF2-40B4-BE49-F238E27FC236}">
                <a16:creationId xmlns:a16="http://schemas.microsoft.com/office/drawing/2014/main" id="{816660BE-7EA1-0EE6-CB09-F94E99C1C27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9393" y="1650450"/>
            <a:ext cx="1105787" cy="1105787"/>
          </a:xfrm>
          <a:prstGeom prst="rect">
            <a:avLst/>
          </a:prstGeom>
        </p:spPr>
      </p:pic>
      <p:pic>
        <p:nvPicPr>
          <p:cNvPr id="5" name="Graphic 4" descr="Flying Money outline">
            <a:extLst>
              <a:ext uri="{FF2B5EF4-FFF2-40B4-BE49-F238E27FC236}">
                <a16:creationId xmlns:a16="http://schemas.microsoft.com/office/drawing/2014/main" id="{A026F359-F06A-F7DC-C58E-37370A25A3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5085" y="491601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648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75172-F1BE-0140-93BD-F8BF09E7A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Creditable Year of Serv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1F89E8-A6DB-6B51-5CDF-1F4A79800B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393" y="1233630"/>
            <a:ext cx="10071420" cy="488036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/>
          </a:p>
          <a:p>
            <a:pPr marL="5143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800" b="1">
                <a:effectLst/>
              </a:rPr>
              <a:t>Employed and compensated </a:t>
            </a:r>
            <a:r>
              <a:rPr lang="en-US" sz="2800">
                <a:effectLst/>
              </a:rPr>
              <a:t>by a Texas school system in a teacher role (087 role ID) for at least 90 days at 100% of the day or 180 days at 50–99% of the day, </a:t>
            </a:r>
            <a:r>
              <a:rPr lang="en-US" sz="2800" i="1">
                <a:effectLst/>
              </a:rPr>
              <a:t>or the equivalent of one semester</a:t>
            </a:r>
          </a:p>
          <a:p>
            <a:pPr marL="5143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800" b="1"/>
              <a:t>Paid</a:t>
            </a:r>
            <a:r>
              <a:rPr lang="en-US" sz="2800" b="1">
                <a:effectLst/>
              </a:rPr>
              <a:t> leave </a:t>
            </a:r>
            <a:r>
              <a:rPr lang="en-US" sz="2800">
                <a:effectLst/>
              </a:rPr>
              <a:t>days and staff development days count</a:t>
            </a:r>
            <a:r>
              <a:rPr lang="en-US" sz="2800"/>
              <a:t> towards the year of service</a:t>
            </a:r>
            <a:endParaRPr lang="en-US" sz="2800">
              <a:effectLst/>
            </a:endParaRPr>
          </a:p>
          <a:p>
            <a:pPr marL="5143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800">
                <a:effectLst/>
              </a:rPr>
              <a:t>May not align with number of days on campus or instructional days</a:t>
            </a:r>
          </a:p>
          <a:p>
            <a:pPr marL="5143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sz="2800">
                <a:effectLst/>
              </a:rPr>
              <a:t>Met </a:t>
            </a:r>
            <a:r>
              <a:rPr lang="en-US" sz="2800" b="1" i="1">
                <a:effectLst/>
              </a:rPr>
              <a:t>or will meet </a:t>
            </a:r>
            <a:r>
              <a:rPr lang="en-US" sz="2800">
                <a:effectLst/>
              </a:rPr>
              <a:t>by the end of the school year</a:t>
            </a:r>
          </a:p>
          <a:p>
            <a:pPr marL="5143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/>
              <a:t>Closely monitor part-time teachers and/or teachers taking unpaid leave. </a:t>
            </a:r>
            <a:endParaRPr lang="en-US" sz="280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438772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4297B21-A12E-899C-1887-7DDF515A95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A Administrative Discre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9633CFE-4EA3-3704-65A1-28034B8771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fontScale="92500"/>
          </a:bodyPr>
          <a:lstStyle/>
          <a:p>
            <a:r>
              <a:rPr lang="en-US"/>
              <a:t>087 Role ID: </a:t>
            </a:r>
            <a:r>
              <a:rPr lang="en-US">
                <a:solidFill>
                  <a:schemeClr val="accent4"/>
                </a:solidFill>
              </a:rPr>
              <a:t>A professional employee who is required to hold a valid teacher certificate or permit in order to perform some type of instruction to students</a:t>
            </a:r>
          </a:p>
          <a:p>
            <a:r>
              <a:rPr lang="en-US">
                <a:cs typeface="Calibri"/>
              </a:rPr>
              <a:t>Teachers in atypical roles are TIA eligible including: SPED inclusion, interventionists, dyslexia teachers, itinerant teachers</a:t>
            </a:r>
            <a:endParaRPr lang="en-US">
              <a:solidFill>
                <a:schemeClr val="accent4"/>
              </a:solidFill>
            </a:endParaRPr>
          </a:p>
          <a:p>
            <a:r>
              <a:rPr lang="en-US"/>
              <a:t>In some cases, an HRIS system will not allow a teacher to be reported as an 087:</a:t>
            </a:r>
          </a:p>
          <a:p>
            <a:pPr lvl="1"/>
            <a:r>
              <a:rPr lang="en-US"/>
              <a:t>Alternate Role ID reporting guidance for special assignment teachers</a:t>
            </a:r>
          </a:p>
          <a:p>
            <a:pPr lvl="1"/>
            <a:r>
              <a:rPr lang="en-US"/>
              <a:t>Funding source for the position</a:t>
            </a:r>
          </a:p>
          <a:p>
            <a:pPr lvl="1"/>
            <a:r>
              <a:rPr lang="en-US"/>
              <a:t>Centrally assigned support teachers </a:t>
            </a:r>
          </a:p>
          <a:p>
            <a:r>
              <a:rPr lang="en-US"/>
              <a:t>TEA may exercise administrative discretion to determine eligibility and may request additional information from the district</a:t>
            </a:r>
          </a:p>
        </p:txBody>
      </p:sp>
    </p:spTree>
    <p:extLst>
      <p:ext uri="{BB962C8B-B14F-4D97-AF65-F5344CB8AC3E}">
        <p14:creationId xmlns:p14="http://schemas.microsoft.com/office/powerpoint/2010/main" val="41680835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F4225E-4D19-4CB8-9855-86332ED4E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ignations and Allotment Timeline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F789D88-A58B-A8F9-0501-EA72452BD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1318" y="1695413"/>
            <a:ext cx="11374825" cy="2949941"/>
            <a:chOff x="401318" y="1695413"/>
            <a:chExt cx="11374825" cy="294994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372B1FB-3B28-3FC2-8442-C0AB6B835BC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450877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4DBE190-D904-EC02-3282-7842331D580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01318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847CBAE-7889-110C-E6CC-D5E4036AE6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15857" y="1698219"/>
              <a:ext cx="1958949" cy="1776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3D81D09-3D51-D7F0-1000-11D987B6DE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751171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BE72B18-47CE-E0B9-9E00-7BDF9EA804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765710" y="1700666"/>
              <a:ext cx="1958949" cy="12348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ECA58DE-A568-B158-C233-93FAC9C5AD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01024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1EC7D77-6E36-D77F-A419-B5A3E40CE7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15563" y="1700667"/>
              <a:ext cx="1958949" cy="12348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B80505B-2ACC-07DE-EFAE-86E7E2347F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800730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D604B8B-C7E1-88E3-EBAC-EA014F4EBD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98805" y="1700666"/>
              <a:ext cx="1975413" cy="1273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BB16551-D7CB-B150-A7D9-5A45E4039C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448952" y="1700666"/>
              <a:ext cx="1975413" cy="1273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6D9C40CD-4C86-173B-9499-8C7C0F5F11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6" idx="0"/>
              <a:endCxn id="69" idx="2"/>
            </p:cNvCxnSpPr>
            <p:nvPr/>
          </p:nvCxnSpPr>
          <p:spPr>
            <a:xfrm flipV="1">
              <a:off x="1387100" y="4079865"/>
              <a:ext cx="0" cy="551208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7094D4D5-4736-35FC-4A49-4D9119E502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26" idx="0"/>
              <a:endCxn id="76" idx="2"/>
            </p:cNvCxnSpPr>
            <p:nvPr/>
          </p:nvCxnSpPr>
          <p:spPr>
            <a:xfrm flipV="1">
              <a:off x="3752184" y="4085935"/>
              <a:ext cx="1233" cy="503164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47B52917-2955-6DF1-6A96-4363598C44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43" idx="0"/>
              <a:endCxn id="79" idx="2"/>
            </p:cNvCxnSpPr>
            <p:nvPr/>
          </p:nvCxnSpPr>
          <p:spPr>
            <a:xfrm flipV="1">
              <a:off x="6100128" y="4086180"/>
              <a:ext cx="3142" cy="559174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D38491CA-CBBB-75E3-F42D-293F7CA154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42" idx="0"/>
              <a:endCxn id="80" idx="2"/>
            </p:cNvCxnSpPr>
            <p:nvPr/>
          </p:nvCxnSpPr>
          <p:spPr>
            <a:xfrm flipV="1">
              <a:off x="8429079" y="4077194"/>
              <a:ext cx="2235" cy="556585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DBE7C7F-0BC5-D4FB-9C65-0EF4B5454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32" idx="0"/>
              <a:endCxn id="50" idx="2"/>
            </p:cNvCxnSpPr>
            <p:nvPr/>
          </p:nvCxnSpPr>
          <p:spPr>
            <a:xfrm flipH="1" flipV="1">
              <a:off x="10788437" y="4079865"/>
              <a:ext cx="4399" cy="533571"/>
            </a:xfrm>
            <a:prstGeom prst="lin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569ABE-70E2-B09A-D37C-FC0F3BF633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9393" y="5037629"/>
            <a:ext cx="11395210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B533B50B-121C-069B-A079-F10C2D7532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3695" y="4631073"/>
            <a:ext cx="766810" cy="76681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0BFC14A-37B3-4A6D-2180-9D23FB8B66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68779" y="4589099"/>
            <a:ext cx="766810" cy="7668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4E83F7E-5E84-AC17-9DF5-4F0A98A31C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19307" y="4613436"/>
            <a:ext cx="766810" cy="7668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833A3B5-62FA-0D01-7B9C-767ADE278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48573" y="4617149"/>
            <a:ext cx="766810" cy="7668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7C166D7-F604-D160-7BF0-39438FAC0E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409431" y="4613436"/>
            <a:ext cx="766810" cy="7668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804A7FC3-F37C-FCB0-EB3E-1F8B57F4C2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460763" y="4680135"/>
            <a:ext cx="645899" cy="645899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5E069CDF-7EA6-43C9-31BC-53B13B9C9A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06129" y="4633779"/>
            <a:ext cx="645899" cy="645899"/>
          </a:xfrm>
          <a:prstGeom prst="rect">
            <a:avLst/>
          </a:prstGeom>
        </p:spPr>
      </p:pic>
      <p:pic>
        <p:nvPicPr>
          <p:cNvPr id="43" name="Graphic 42" descr="Diploma outline">
            <a:extLst>
              <a:ext uri="{FF2B5EF4-FFF2-40B4-BE49-F238E27FC236}">
                <a16:creationId xmlns:a16="http://schemas.microsoft.com/office/drawing/2014/main" id="{86FE606F-F4C6-0FA3-711F-78E99A56E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777178" y="4645354"/>
            <a:ext cx="645899" cy="645899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7D698EF9-9AB7-C05E-2F06-9CE0C3BD02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29819" y="4632837"/>
            <a:ext cx="645899" cy="645899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57B16A05-4B18-47C8-7A03-35D5C4B2E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5400000">
            <a:off x="2112442" y="4581605"/>
            <a:ext cx="914400" cy="9144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DC97D25F-C2D6-5E72-16D0-7B7C3CF4A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5400000">
            <a:off x="4499184" y="4596961"/>
            <a:ext cx="914400" cy="9144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EDC8530E-9A11-F0E2-06BB-B7D9228FA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5400000">
            <a:off x="6810145" y="4589099"/>
            <a:ext cx="914400" cy="9144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8026F553-B536-F8B2-1FB9-35C4A9872B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5400000">
            <a:off x="9149195" y="4589099"/>
            <a:ext cx="914400" cy="91440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39F50354-00B5-D333-E9EE-B9F7378C780F}"/>
              </a:ext>
            </a:extLst>
          </p:cNvPr>
          <p:cNvSpPr txBox="1"/>
          <p:nvPr/>
        </p:nvSpPr>
        <p:spPr>
          <a:xfrm>
            <a:off x="399393" y="1936287"/>
            <a:ext cx="1975413" cy="214357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rmAutofit fontScale="70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 Roster Winter Submission snapshot determines teacher  placement and eligibil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processes new designations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verifies teacher  placement and allotment eligibility 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440EBF8-1E71-646F-4D9B-5C536EEF17FE}"/>
              </a:ext>
            </a:extLst>
          </p:cNvPr>
          <p:cNvSpPr txBox="1"/>
          <p:nvPr/>
        </p:nvSpPr>
        <p:spPr>
          <a:xfrm>
            <a:off x="399392" y="5567341"/>
            <a:ext cx="1975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ruary-April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75D2865-7ECB-07F8-50F8-E4A55CF86B4A}"/>
              </a:ext>
            </a:extLst>
          </p:cNvPr>
          <p:cNvSpPr txBox="1"/>
          <p:nvPr/>
        </p:nvSpPr>
        <p:spPr>
          <a:xfrm>
            <a:off x="2765710" y="2123950"/>
            <a:ext cx="1975413" cy="196198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rmAutofit fontScale="85000"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tments calculated using Class Roster Winter Submission district/campus placemen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cts access and verify allotment data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cts confirm or dispute allotments by May 3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DBEE132-D29E-BA54-5BCF-97306BB70E3A}"/>
              </a:ext>
            </a:extLst>
          </p:cNvPr>
          <p:cNvSpPr txBox="1"/>
          <p:nvPr/>
        </p:nvSpPr>
        <p:spPr>
          <a:xfrm>
            <a:off x="2709270" y="5567341"/>
            <a:ext cx="1975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il 24-May 3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38EEF7A-163F-D623-CA97-27AC0CFE38AF}"/>
              </a:ext>
            </a:extLst>
          </p:cNvPr>
          <p:cNvSpPr txBox="1"/>
          <p:nvPr/>
        </p:nvSpPr>
        <p:spPr>
          <a:xfrm>
            <a:off x="5115563" y="2124195"/>
            <a:ext cx="1975413" cy="196198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processes all disputes and confirms final allot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22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w designations placed on teacher certificates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5FB9F69-970D-7058-967D-388DC7DCF93D}"/>
              </a:ext>
            </a:extLst>
          </p:cNvPr>
          <p:cNvSpPr txBox="1"/>
          <p:nvPr/>
        </p:nvSpPr>
        <p:spPr>
          <a:xfrm>
            <a:off x="5099098" y="5567341"/>
            <a:ext cx="1975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C14890D-073A-5910-17BD-D3BAF02E5441}"/>
              </a:ext>
            </a:extLst>
          </p:cNvPr>
          <p:cNvSpPr txBox="1"/>
          <p:nvPr/>
        </p:nvSpPr>
        <p:spPr>
          <a:xfrm>
            <a:off x="7443607" y="2115209"/>
            <a:ext cx="1975413" cy="196198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adline to spend scheduled allotment funds (not fees)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63E3415-94B4-7F21-3ABC-2A3A6B733DFC}"/>
              </a:ext>
            </a:extLst>
          </p:cNvPr>
          <p:cNvSpPr txBox="1"/>
          <p:nvPr/>
        </p:nvSpPr>
        <p:spPr>
          <a:xfrm>
            <a:off x="7443606" y="5567341"/>
            <a:ext cx="1975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gust 31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7E6994E-9821-FBE0-7097-7B534CA3F24F}"/>
              </a:ext>
            </a:extLst>
          </p:cNvPr>
          <p:cNvSpPr txBox="1"/>
          <p:nvPr/>
        </p:nvSpPr>
        <p:spPr>
          <a:xfrm>
            <a:off x="9815269" y="2103524"/>
            <a:ext cx="1975413" cy="1961985"/>
          </a:xfrm>
          <a:prstGeom prst="rect">
            <a:avLst/>
          </a:prstGeom>
          <a:noFill/>
        </p:spPr>
        <p:txBody>
          <a:bodyPr wrap="square" rtlCol="0">
            <a:normAutofit fontScale="92500"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ear 1 allotment funding arr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wo separate TIA line items on district SOF re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inued funding for 2024-2025 based on projection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F2CD20D-1EC7-F310-33F2-F7CFDEED9269}"/>
              </a:ext>
            </a:extLst>
          </p:cNvPr>
          <p:cNvSpPr txBox="1"/>
          <p:nvPr/>
        </p:nvSpPr>
        <p:spPr>
          <a:xfrm>
            <a:off x="9815269" y="5567341"/>
            <a:ext cx="1975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tember</a:t>
            </a: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22383543-DD07-ECE1-8B53-989579F329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0255" y="4672348"/>
            <a:ext cx="653686" cy="65368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18185B7-9DF3-A44D-D769-7FF1553856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50749" y="4691528"/>
            <a:ext cx="645899" cy="645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1981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4F0C2F-EC1B-4BC7-B4C3-5D1BC9A386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ignated Teacher Movement</a:t>
            </a:r>
          </a:p>
        </p:txBody>
      </p:sp>
      <p:grpSp>
        <p:nvGrpSpPr>
          <p:cNvPr id="8" name="Group 7" descr="Graphic of teacher movement.&#10;&#10;Teacher A starts in Dec-Feb before Winter Class Roster and finishes the school year. They generate an allotment for the district.&#10;&#10;Teacher B starts in Aug-Nov but leaves before Winter Class Roster and does not generate an allotment for the district.&#10;&#10;Teacher C starts in Aug-Nov and leaves in Mar-May after Winter Class Roster and does generate an allotment for the district.">
            <a:extLst>
              <a:ext uri="{FF2B5EF4-FFF2-40B4-BE49-F238E27FC236}">
                <a16:creationId xmlns:a16="http://schemas.microsoft.com/office/drawing/2014/main" id="{49D54F86-6238-4F98-5F75-8820776CF8A9}"/>
              </a:ext>
            </a:extLst>
          </p:cNvPr>
          <p:cNvGrpSpPr/>
          <p:nvPr/>
        </p:nvGrpSpPr>
        <p:grpSpPr>
          <a:xfrm>
            <a:off x="495300" y="1723387"/>
            <a:ext cx="11380400" cy="4716228"/>
            <a:chOff x="495300" y="1723387"/>
            <a:chExt cx="11380400" cy="4716228"/>
          </a:xfrm>
        </p:grpSpPr>
        <p:cxnSp>
          <p:nvCxnSpPr>
            <p:cNvPr id="106" name="Straight Arrow Connector 105">
              <a:extLst>
                <a:ext uri="{FF2B5EF4-FFF2-40B4-BE49-F238E27FC236}">
                  <a16:creationId xmlns:a16="http://schemas.microsoft.com/office/drawing/2014/main" id="{A0C15212-D504-4A25-B9C2-CDFA90DBF59A}"/>
                </a:ext>
              </a:extLst>
            </p:cNvPr>
            <p:cNvCxnSpPr>
              <a:cxnSpLocks/>
            </p:cNvCxnSpPr>
            <p:nvPr/>
          </p:nvCxnSpPr>
          <p:spPr>
            <a:xfrm>
              <a:off x="5842000" y="1723387"/>
              <a:ext cx="0" cy="4356100"/>
            </a:xfrm>
            <a:prstGeom prst="straightConnector1">
              <a:avLst/>
            </a:prstGeom>
            <a:ln w="76200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38AF2B6-0F42-4F34-B24E-87F66214F461}"/>
                </a:ext>
              </a:extLst>
            </p:cNvPr>
            <p:cNvSpPr>
              <a:spLocks/>
            </p:cNvSpPr>
            <p:nvPr/>
          </p:nvSpPr>
          <p:spPr>
            <a:xfrm>
              <a:off x="3175000" y="1765300"/>
              <a:ext cx="2565400" cy="40259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27B4693B-1941-4075-9EB9-683CC25EC1E5}"/>
                </a:ext>
              </a:extLst>
            </p:cNvPr>
            <p:cNvSpPr>
              <a:spLocks/>
            </p:cNvSpPr>
            <p:nvPr/>
          </p:nvSpPr>
          <p:spPr>
            <a:xfrm>
              <a:off x="495300" y="1765300"/>
              <a:ext cx="2565400" cy="40259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00836308-8807-4BD0-9494-CD83640E1B28}"/>
                </a:ext>
              </a:extLst>
            </p:cNvPr>
            <p:cNvCxnSpPr>
              <a:cxnSpLocks/>
              <a:stCxn id="57" idx="6"/>
            </p:cNvCxnSpPr>
            <p:nvPr/>
          </p:nvCxnSpPr>
          <p:spPr>
            <a:xfrm flipV="1">
              <a:off x="1453831" y="4214175"/>
              <a:ext cx="4121469" cy="1"/>
            </a:xfrm>
            <a:prstGeom prst="straightConnector1">
              <a:avLst/>
            </a:prstGeom>
            <a:ln w="44450"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BA49D66-BD20-42FE-90A8-BB51A318A049}"/>
                </a:ext>
              </a:extLst>
            </p:cNvPr>
            <p:cNvSpPr>
              <a:spLocks/>
            </p:cNvSpPr>
            <p:nvPr/>
          </p:nvSpPr>
          <p:spPr>
            <a:xfrm>
              <a:off x="5938835" y="1765300"/>
              <a:ext cx="2565400" cy="40259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8264094-5A7E-404B-A1E1-7F258462FBF4}"/>
                </a:ext>
              </a:extLst>
            </p:cNvPr>
            <p:cNvSpPr>
              <a:spLocks/>
            </p:cNvSpPr>
            <p:nvPr/>
          </p:nvSpPr>
          <p:spPr>
            <a:xfrm>
              <a:off x="8694732" y="1765300"/>
              <a:ext cx="2565400" cy="40259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A6E2563-322A-4BF1-93DE-C2B110DC6D4D}"/>
                </a:ext>
              </a:extLst>
            </p:cNvPr>
            <p:cNvSpPr txBox="1"/>
            <p:nvPr/>
          </p:nvSpPr>
          <p:spPr>
            <a:xfrm>
              <a:off x="495300" y="1943100"/>
              <a:ext cx="255904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/>
                <a:t>FALL</a:t>
              </a:r>
            </a:p>
            <a:p>
              <a:pPr algn="ctr"/>
              <a:r>
                <a:rPr lang="en-US" sz="2400" b="1">
                  <a:solidFill>
                    <a:schemeClr val="accent5"/>
                  </a:solidFill>
                  <a:latin typeface="+mj-lt"/>
                </a:rPr>
                <a:t>Aug - Nov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47D2885-348A-45F4-B22E-EB496DBF7928}"/>
                </a:ext>
              </a:extLst>
            </p:cNvPr>
            <p:cNvSpPr txBox="1"/>
            <p:nvPr/>
          </p:nvSpPr>
          <p:spPr>
            <a:xfrm>
              <a:off x="3175000" y="1943100"/>
              <a:ext cx="255904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/>
                <a:t>WINTER</a:t>
              </a:r>
            </a:p>
            <a:p>
              <a:pPr algn="ctr"/>
              <a:r>
                <a:rPr lang="en-US" sz="2400" b="1">
                  <a:solidFill>
                    <a:schemeClr val="accent5"/>
                  </a:solidFill>
                  <a:latin typeface="+mj-lt"/>
                </a:rPr>
                <a:t>Dec - Feb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860EA1-C221-4612-891B-81205DDFCEFD}"/>
                </a:ext>
              </a:extLst>
            </p:cNvPr>
            <p:cNvSpPr txBox="1"/>
            <p:nvPr/>
          </p:nvSpPr>
          <p:spPr>
            <a:xfrm>
              <a:off x="5932487" y="1943100"/>
              <a:ext cx="255904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/>
                <a:t>SPRING</a:t>
              </a:r>
            </a:p>
            <a:p>
              <a:pPr algn="ctr"/>
              <a:r>
                <a:rPr lang="en-US" sz="2400" b="1">
                  <a:solidFill>
                    <a:schemeClr val="accent5"/>
                  </a:solidFill>
                  <a:latin typeface="+mj-lt"/>
                </a:rPr>
                <a:t>Mar - May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C49B916-FD3A-455E-A451-D76C6100DC88}"/>
                </a:ext>
              </a:extLst>
            </p:cNvPr>
            <p:cNvSpPr txBox="1"/>
            <p:nvPr/>
          </p:nvSpPr>
          <p:spPr>
            <a:xfrm>
              <a:off x="8701084" y="1943100"/>
              <a:ext cx="255904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/>
                <a:t>SUMMER</a:t>
              </a:r>
            </a:p>
            <a:p>
              <a:pPr algn="ctr"/>
              <a:r>
                <a:rPr lang="en-US" sz="2400" b="1">
                  <a:solidFill>
                    <a:schemeClr val="accent5"/>
                  </a:solidFill>
                  <a:latin typeface="+mj-lt"/>
                </a:rPr>
                <a:t>Jun - Aug</a:t>
              </a:r>
            </a:p>
          </p:txBody>
        </p: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E6E0B14D-7109-4DA8-9CE1-B8EED9CA5041}"/>
                </a:ext>
              </a:extLst>
            </p:cNvPr>
            <p:cNvGrpSpPr/>
            <p:nvPr/>
          </p:nvGrpSpPr>
          <p:grpSpPr>
            <a:xfrm>
              <a:off x="3399046" y="2901149"/>
              <a:ext cx="707887" cy="707887"/>
              <a:chOff x="3399046" y="2901149"/>
              <a:chExt cx="707887" cy="707887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7F3D2726-0323-49EF-B8ED-40F4E7F6F294}"/>
                  </a:ext>
                </a:extLst>
              </p:cNvPr>
              <p:cNvSpPr/>
              <p:nvPr/>
            </p:nvSpPr>
            <p:spPr>
              <a:xfrm>
                <a:off x="3419685" y="2921788"/>
                <a:ext cx="666608" cy="666608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4E7C9249-80FC-4853-8A05-FF44C566AB54}"/>
                  </a:ext>
                </a:extLst>
              </p:cNvPr>
              <p:cNvSpPr/>
              <p:nvPr/>
            </p:nvSpPr>
            <p:spPr>
              <a:xfrm>
                <a:off x="3399046" y="2901149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6" name="Graphic 35" descr="User with solid fill">
                <a:extLst>
                  <a:ext uri="{FF2B5EF4-FFF2-40B4-BE49-F238E27FC236}">
                    <a16:creationId xmlns:a16="http://schemas.microsoft.com/office/drawing/2014/main" id="{FD098124-D91E-458B-BD1E-F71A309527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440251" y="2942354"/>
                <a:ext cx="625476" cy="625476"/>
              </a:xfrm>
              <a:prstGeom prst="rect">
                <a:avLst/>
              </a:prstGeom>
            </p:spPr>
          </p:pic>
        </p:grp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882CA41C-F9E3-4BD9-8F5B-A669559F3ECB}"/>
                </a:ext>
              </a:extLst>
            </p:cNvPr>
            <p:cNvCxnSpPr>
              <a:cxnSpLocks/>
              <a:stCxn id="38" idx="6"/>
            </p:cNvCxnSpPr>
            <p:nvPr/>
          </p:nvCxnSpPr>
          <p:spPr>
            <a:xfrm>
              <a:off x="4106933" y="3255093"/>
              <a:ext cx="6619799" cy="0"/>
            </a:xfrm>
            <a:prstGeom prst="straightConnector1">
              <a:avLst/>
            </a:prstGeom>
            <a:ln w="44450">
              <a:solidFill>
                <a:schemeClr val="accent5"/>
              </a:solidFill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D6181602-69F0-409B-803C-D53359F0C53B}"/>
                </a:ext>
              </a:extLst>
            </p:cNvPr>
            <p:cNvGrpSpPr/>
            <p:nvPr/>
          </p:nvGrpSpPr>
          <p:grpSpPr>
            <a:xfrm>
              <a:off x="6194627" y="2901148"/>
              <a:ext cx="707887" cy="707887"/>
              <a:chOff x="6194627" y="2901148"/>
              <a:chExt cx="707887" cy="707887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69B893EA-5926-4600-BA49-EE53AF73E497}"/>
                  </a:ext>
                </a:extLst>
              </p:cNvPr>
              <p:cNvSpPr/>
              <p:nvPr/>
            </p:nvSpPr>
            <p:spPr>
              <a:xfrm>
                <a:off x="6215266" y="2921787"/>
                <a:ext cx="666608" cy="666608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86D141CC-B0F7-4DA5-8860-BF206FFF567B}"/>
                  </a:ext>
                </a:extLst>
              </p:cNvPr>
              <p:cNvSpPr/>
              <p:nvPr/>
            </p:nvSpPr>
            <p:spPr>
              <a:xfrm>
                <a:off x="6194627" y="2901148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0" name="Graphic 49" descr="User with solid fill">
                <a:extLst>
                  <a:ext uri="{FF2B5EF4-FFF2-40B4-BE49-F238E27FC236}">
                    <a16:creationId xmlns:a16="http://schemas.microsoft.com/office/drawing/2014/main" id="{30ECFF81-5CA5-4E73-951F-2F7688C38B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235832" y="2942353"/>
                <a:ext cx="625476" cy="625476"/>
              </a:xfrm>
              <a:prstGeom prst="rect">
                <a:avLst/>
              </a:prstGeom>
            </p:spPr>
          </p:pic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ADD7738E-4B74-4F1B-85A9-B91D0D3D94E8}"/>
                </a:ext>
              </a:extLst>
            </p:cNvPr>
            <p:cNvGrpSpPr/>
            <p:nvPr/>
          </p:nvGrpSpPr>
          <p:grpSpPr>
            <a:xfrm>
              <a:off x="8951152" y="2901147"/>
              <a:ext cx="707887" cy="707887"/>
              <a:chOff x="8951152" y="2901147"/>
              <a:chExt cx="707887" cy="707887"/>
            </a:xfrm>
          </p:grpSpPr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758ACC05-BAB2-4B68-8914-07FBDDE89C33}"/>
                  </a:ext>
                </a:extLst>
              </p:cNvPr>
              <p:cNvSpPr/>
              <p:nvPr/>
            </p:nvSpPr>
            <p:spPr>
              <a:xfrm>
                <a:off x="8971791" y="2921786"/>
                <a:ext cx="666608" cy="666608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C5F594DF-2226-4A0C-A4FC-412F9C9C27D2}"/>
                  </a:ext>
                </a:extLst>
              </p:cNvPr>
              <p:cNvSpPr/>
              <p:nvPr/>
            </p:nvSpPr>
            <p:spPr>
              <a:xfrm>
                <a:off x="8951152" y="2901147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4" name="Graphic 53" descr="User with solid fill">
                <a:extLst>
                  <a:ext uri="{FF2B5EF4-FFF2-40B4-BE49-F238E27FC236}">
                    <a16:creationId xmlns:a16="http://schemas.microsoft.com/office/drawing/2014/main" id="{E0AC29B3-F780-494B-B189-7A5AA6970B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992357" y="2942352"/>
                <a:ext cx="625476" cy="625476"/>
              </a:xfrm>
              <a:prstGeom prst="rect">
                <a:avLst/>
              </a:prstGeom>
            </p:spPr>
          </p:pic>
        </p:grp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138A2D75-7180-46FF-91CA-3F4511F5AF9E}"/>
                </a:ext>
              </a:extLst>
            </p:cNvPr>
            <p:cNvGrpSpPr/>
            <p:nvPr/>
          </p:nvGrpSpPr>
          <p:grpSpPr>
            <a:xfrm>
              <a:off x="745944" y="3860232"/>
              <a:ext cx="707887" cy="707887"/>
              <a:chOff x="745944" y="3860232"/>
              <a:chExt cx="707887" cy="707887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B4D81B99-28F7-4827-93EE-15736C84D893}"/>
                  </a:ext>
                </a:extLst>
              </p:cNvPr>
              <p:cNvSpPr/>
              <p:nvPr/>
            </p:nvSpPr>
            <p:spPr>
              <a:xfrm>
                <a:off x="766583" y="3880871"/>
                <a:ext cx="666608" cy="666608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A6BD4F1-DD1D-4909-9D61-FBE564F1D1A2}"/>
                  </a:ext>
                </a:extLst>
              </p:cNvPr>
              <p:cNvSpPr/>
              <p:nvPr/>
            </p:nvSpPr>
            <p:spPr>
              <a:xfrm>
                <a:off x="745944" y="3860232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8" name="Graphic 57" descr="User with solid fill">
                <a:extLst>
                  <a:ext uri="{FF2B5EF4-FFF2-40B4-BE49-F238E27FC236}">
                    <a16:creationId xmlns:a16="http://schemas.microsoft.com/office/drawing/2014/main" id="{D6532311-BBC9-44F1-A366-102DAD1D79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87149" y="3901437"/>
                <a:ext cx="625476" cy="625476"/>
              </a:xfrm>
              <a:prstGeom prst="rect">
                <a:avLst/>
              </a:prstGeom>
            </p:spPr>
          </p:pic>
        </p:grp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97407D4C-C2DD-4B8D-BD59-B1ADCEC76A17}"/>
                </a:ext>
              </a:extLst>
            </p:cNvPr>
            <p:cNvGrpSpPr/>
            <p:nvPr/>
          </p:nvGrpSpPr>
          <p:grpSpPr>
            <a:xfrm>
              <a:off x="3396867" y="3860232"/>
              <a:ext cx="707887" cy="707887"/>
              <a:chOff x="3396867" y="3860232"/>
              <a:chExt cx="707887" cy="707887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AD8E040C-8F40-4E6E-8D07-273145F608CC}"/>
                  </a:ext>
                </a:extLst>
              </p:cNvPr>
              <p:cNvSpPr/>
              <p:nvPr/>
            </p:nvSpPr>
            <p:spPr>
              <a:xfrm>
                <a:off x="3417506" y="3880871"/>
                <a:ext cx="666608" cy="666608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623E2036-9563-45FF-8737-C0F0C9DAAD33}"/>
                  </a:ext>
                </a:extLst>
              </p:cNvPr>
              <p:cNvSpPr/>
              <p:nvPr/>
            </p:nvSpPr>
            <p:spPr>
              <a:xfrm>
                <a:off x="3396867" y="3860232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1" name="Graphic 60" descr="User with solid fill">
                <a:extLst>
                  <a:ext uri="{FF2B5EF4-FFF2-40B4-BE49-F238E27FC236}">
                    <a16:creationId xmlns:a16="http://schemas.microsoft.com/office/drawing/2014/main" id="{11BEFAAB-E9CA-40FC-A37C-FC830FEA26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438072" y="3901437"/>
                <a:ext cx="625476" cy="625476"/>
              </a:xfrm>
              <a:prstGeom prst="rect">
                <a:avLst/>
              </a:prstGeom>
            </p:spPr>
          </p:pic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7C1D6B82-08B1-4E8B-A68A-1BB28D042846}"/>
                </a:ext>
              </a:extLst>
            </p:cNvPr>
            <p:cNvGrpSpPr/>
            <p:nvPr/>
          </p:nvGrpSpPr>
          <p:grpSpPr>
            <a:xfrm>
              <a:off x="745944" y="4826758"/>
              <a:ext cx="707887" cy="707887"/>
              <a:chOff x="745944" y="4826758"/>
              <a:chExt cx="707887" cy="707887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B84CF6E8-C938-47E6-8765-181EDC92056D}"/>
                  </a:ext>
                </a:extLst>
              </p:cNvPr>
              <p:cNvSpPr/>
              <p:nvPr/>
            </p:nvSpPr>
            <p:spPr>
              <a:xfrm>
                <a:off x="766583" y="4847397"/>
                <a:ext cx="666608" cy="666608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2B64010B-69C2-4329-91FA-751614C0D33A}"/>
                  </a:ext>
                </a:extLst>
              </p:cNvPr>
              <p:cNvSpPr/>
              <p:nvPr/>
            </p:nvSpPr>
            <p:spPr>
              <a:xfrm>
                <a:off x="745944" y="4826758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7" name="Graphic 66" descr="User with solid fill">
                <a:extLst>
                  <a:ext uri="{FF2B5EF4-FFF2-40B4-BE49-F238E27FC236}">
                    <a16:creationId xmlns:a16="http://schemas.microsoft.com/office/drawing/2014/main" id="{ECD28E4D-017D-4229-A636-3E83479697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87149" y="4867963"/>
                <a:ext cx="625476" cy="625476"/>
              </a:xfrm>
              <a:prstGeom prst="rect">
                <a:avLst/>
              </a:prstGeom>
            </p:spPr>
          </p:pic>
        </p:grpSp>
        <p:cxnSp>
          <p:nvCxnSpPr>
            <p:cNvPr id="95" name="Straight Arrow Connector 94">
              <a:extLst>
                <a:ext uri="{FF2B5EF4-FFF2-40B4-BE49-F238E27FC236}">
                  <a16:creationId xmlns:a16="http://schemas.microsoft.com/office/drawing/2014/main" id="{1B3C5691-F45E-4A86-AC89-D3DEF9773476}"/>
                </a:ext>
              </a:extLst>
            </p:cNvPr>
            <p:cNvCxnSpPr>
              <a:cxnSpLocks/>
              <a:stCxn id="66" idx="6"/>
            </p:cNvCxnSpPr>
            <p:nvPr/>
          </p:nvCxnSpPr>
          <p:spPr>
            <a:xfrm>
              <a:off x="1453831" y="5180702"/>
              <a:ext cx="6915469" cy="0"/>
            </a:xfrm>
            <a:prstGeom prst="straightConnector1">
              <a:avLst/>
            </a:prstGeom>
            <a:ln w="44450"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FDB21C89-62CB-4C88-89C6-4486D6C5BFE5}"/>
                </a:ext>
              </a:extLst>
            </p:cNvPr>
            <p:cNvGrpSpPr/>
            <p:nvPr/>
          </p:nvGrpSpPr>
          <p:grpSpPr>
            <a:xfrm>
              <a:off x="6202637" y="4826758"/>
              <a:ext cx="707887" cy="707887"/>
              <a:chOff x="6202637" y="4826758"/>
              <a:chExt cx="707887" cy="707887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49E9701-A372-40B2-8B75-11A12130DB05}"/>
                  </a:ext>
                </a:extLst>
              </p:cNvPr>
              <p:cNvSpPr/>
              <p:nvPr/>
            </p:nvSpPr>
            <p:spPr>
              <a:xfrm>
                <a:off x="6223276" y="4847397"/>
                <a:ext cx="666608" cy="666608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E5630173-E3DC-4B3C-8F86-BF034D4887AC}"/>
                  </a:ext>
                </a:extLst>
              </p:cNvPr>
              <p:cNvSpPr/>
              <p:nvPr/>
            </p:nvSpPr>
            <p:spPr>
              <a:xfrm>
                <a:off x="6202637" y="4826758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76" name="Graphic 75" descr="User with solid fill">
                <a:extLst>
                  <a:ext uri="{FF2B5EF4-FFF2-40B4-BE49-F238E27FC236}">
                    <a16:creationId xmlns:a16="http://schemas.microsoft.com/office/drawing/2014/main" id="{6A96DEC9-ACC6-4F2E-BFAD-5793A399A8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243842" y="4867963"/>
                <a:ext cx="625476" cy="625476"/>
              </a:xfrm>
              <a:prstGeom prst="rect">
                <a:avLst/>
              </a:prstGeom>
            </p:spPr>
          </p:pic>
        </p:grp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8FF76AE6-C1F7-43CD-ACBE-C30AE434F5A9}"/>
                </a:ext>
              </a:extLst>
            </p:cNvPr>
            <p:cNvGrpSpPr/>
            <p:nvPr/>
          </p:nvGrpSpPr>
          <p:grpSpPr>
            <a:xfrm>
              <a:off x="3396867" y="4826758"/>
              <a:ext cx="707887" cy="707887"/>
              <a:chOff x="3396867" y="4826758"/>
              <a:chExt cx="707887" cy="707887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07B335C9-67CC-456F-AB35-41C171C0C184}"/>
                  </a:ext>
                </a:extLst>
              </p:cNvPr>
              <p:cNvSpPr/>
              <p:nvPr/>
            </p:nvSpPr>
            <p:spPr>
              <a:xfrm>
                <a:off x="3417506" y="4847397"/>
                <a:ext cx="666608" cy="666608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152203D8-6DF5-4B5C-A2F3-BF1CAD5B0B0A}"/>
                  </a:ext>
                </a:extLst>
              </p:cNvPr>
              <p:cNvSpPr/>
              <p:nvPr/>
            </p:nvSpPr>
            <p:spPr>
              <a:xfrm>
                <a:off x="3396867" y="4826758"/>
                <a:ext cx="707887" cy="707887"/>
              </a:xfrm>
              <a:prstGeom prst="ellipse">
                <a:avLst/>
              </a:prstGeom>
              <a:noFill/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73" name="Graphic 72" descr="User with solid fill">
                <a:extLst>
                  <a:ext uri="{FF2B5EF4-FFF2-40B4-BE49-F238E27FC236}">
                    <a16:creationId xmlns:a16="http://schemas.microsoft.com/office/drawing/2014/main" id="{C04DBFF5-4EE0-4F5F-8E03-225B363624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438072" y="4867963"/>
                <a:ext cx="625476" cy="625476"/>
              </a:xfrm>
              <a:prstGeom prst="rect">
                <a:avLst/>
              </a:prstGeom>
            </p:spPr>
          </p:pic>
        </p:grp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2013F43F-D655-4642-ADB8-12907FC5E2BA}"/>
                </a:ext>
              </a:extLst>
            </p:cNvPr>
            <p:cNvSpPr/>
            <p:nvPr/>
          </p:nvSpPr>
          <p:spPr>
            <a:xfrm>
              <a:off x="10726732" y="2901147"/>
              <a:ext cx="1148968" cy="66667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Teacher A Generates Allotment</a:t>
              </a: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AC26DB3E-C1C5-4F76-B1E0-044407AAADB2}"/>
                </a:ext>
              </a:extLst>
            </p:cNvPr>
            <p:cNvSpPr/>
            <p:nvPr/>
          </p:nvSpPr>
          <p:spPr>
            <a:xfrm>
              <a:off x="10726732" y="3889316"/>
              <a:ext cx="1148968" cy="666671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/>
                <a:t>Teacher B Does NOT Generate Allotment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D109B9FB-2C48-40FC-B5BA-04FFFC0DEFE1}"/>
                </a:ext>
              </a:extLst>
            </p:cNvPr>
            <p:cNvSpPr/>
            <p:nvPr/>
          </p:nvSpPr>
          <p:spPr>
            <a:xfrm>
              <a:off x="10726732" y="4850459"/>
              <a:ext cx="1148968" cy="66667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>
                  <a:solidFill>
                    <a:schemeClr val="tx1"/>
                  </a:solidFill>
                </a:rPr>
                <a:t>Teacher C Generates Allotment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C498FE06-48A4-4628-BDAB-38F364282D1C}"/>
                </a:ext>
              </a:extLst>
            </p:cNvPr>
            <p:cNvSpPr txBox="1"/>
            <p:nvPr/>
          </p:nvSpPr>
          <p:spPr>
            <a:xfrm>
              <a:off x="4216400" y="6178005"/>
              <a:ext cx="325120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/>
                <a:t>February – Winter Class Roster Submission (TSD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48092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9B94A5-B48A-F29E-DDF4-0C26AA5B6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udience No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717801-5679-4CEB-2354-B0CC977983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This session applies only to districts:  </a:t>
            </a:r>
          </a:p>
          <a:p>
            <a:pPr lvl="1"/>
            <a:r>
              <a:rPr lang="en-US"/>
              <a:t>Employing a teacher(s) with an </a:t>
            </a:r>
            <a:r>
              <a:rPr lang="en-US" u="sng"/>
              <a:t>active</a:t>
            </a:r>
            <a:r>
              <a:rPr lang="en-US"/>
              <a:t> TIA designation; and/or</a:t>
            </a:r>
          </a:p>
          <a:p>
            <a:pPr lvl="1"/>
            <a:r>
              <a:rPr lang="en-US"/>
              <a:t>Cohort A-E districts recently approved to issue 2023-24 designations; and/or</a:t>
            </a:r>
          </a:p>
          <a:p>
            <a:pPr lvl="1"/>
            <a:r>
              <a:rPr lang="en-US"/>
              <a:t>Employing a National Board Certified Teacher(s) in a teaching position</a:t>
            </a:r>
          </a:p>
          <a:p>
            <a:r>
              <a:rPr lang="en-US"/>
              <a:t>Key participants:</a:t>
            </a:r>
          </a:p>
          <a:p>
            <a:pPr lvl="1"/>
            <a:r>
              <a:rPr lang="en-US"/>
              <a:t>HR administrator</a:t>
            </a:r>
          </a:p>
          <a:p>
            <a:pPr lvl="1"/>
            <a:r>
              <a:rPr lang="en-US"/>
              <a:t>TIA leads, for districts with a local designation system</a:t>
            </a:r>
          </a:p>
          <a:p>
            <a:pPr lvl="1"/>
            <a:r>
              <a:rPr lang="en-US"/>
              <a:t>Business office: finance, budget, payroll</a:t>
            </a:r>
            <a:endParaRPr lang="en-US">
              <a:cs typeface="Calibri"/>
            </a:endParaRP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2949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504BD-926B-80BA-B82A-9AE0EF4159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acher Mov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EB2F20-41B6-27F8-8822-51569E1299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if a designated teacher resigned or retired after the February 23</a:t>
            </a:r>
            <a:r>
              <a:rPr lang="en-US" baseline="30000"/>
              <a:t>th</a:t>
            </a:r>
            <a:r>
              <a:rPr lang="en-US"/>
              <a:t> snapshot date?</a:t>
            </a:r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E0BA61-072D-6A24-2FFD-DA60718403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f the teacher met eligibility criteria and was reported in the Class Roster Winter Submission, they will generate an allotment for the district that employed them on February 23</a:t>
            </a:r>
            <a:r>
              <a:rPr lang="en-US" baseline="30000" dirty="0"/>
              <a:t>th</a:t>
            </a:r>
            <a:r>
              <a:rPr lang="en-US" dirty="0"/>
              <a:t>. Districts must refer to their TIA spending plan and ensure they spend the funds in compliance with statute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2809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B129D-F782-4A01-93EA-CD7B886CC0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Introduction to SCOM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0F7DA4-D1CF-4415-A4C9-907E5179731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Strategic Compensation Operations Management System</a:t>
            </a:r>
          </a:p>
        </p:txBody>
      </p:sp>
    </p:spTree>
    <p:extLst>
      <p:ext uri="{BB962C8B-B14F-4D97-AF65-F5344CB8AC3E}">
        <p14:creationId xmlns:p14="http://schemas.microsoft.com/office/powerpoint/2010/main" val="38905092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66070-ADEB-040D-45ED-92E577C42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OMS Resources</a:t>
            </a:r>
          </a:p>
        </p:txBody>
      </p:sp>
      <p:pic>
        <p:nvPicPr>
          <p:cNvPr id="8" name="Picture Placeholder 7" descr="SCOMS user guide screenshot">
            <a:extLst>
              <a:ext uri="{FF2B5EF4-FFF2-40B4-BE49-F238E27FC236}">
                <a16:creationId xmlns:a16="http://schemas.microsoft.com/office/drawing/2014/main" id="{2CA11F60-9A89-265C-043B-063FBFEC36C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t="919" b="5362"/>
          <a:stretch/>
        </p:blipFill>
        <p:spPr>
          <a:xfrm>
            <a:off x="4295999" y="1513826"/>
            <a:ext cx="3467100" cy="3992273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338E84-5626-1CD7-6318-87B9DA2BBD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SCOMS User Guide</a:t>
            </a:r>
          </a:p>
        </p:txBody>
      </p:sp>
      <p:pic>
        <p:nvPicPr>
          <p:cNvPr id="10" name="Picture Placeholder 9" descr="attestations screenshot">
            <a:extLst>
              <a:ext uri="{FF2B5EF4-FFF2-40B4-BE49-F238E27FC236}">
                <a16:creationId xmlns:a16="http://schemas.microsoft.com/office/drawing/2014/main" id="{802FA75E-45C7-BB03-8E66-61D7CF6C04D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4740"/>
          <a:stretch/>
        </p:blipFill>
        <p:spPr>
          <a:xfrm>
            <a:off x="8294914" y="1513826"/>
            <a:ext cx="3467100" cy="4181474"/>
          </a:xfr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A9CC270-EDF5-1F11-D0AF-B4C4477E67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94914" y="5724526"/>
            <a:ext cx="3467100" cy="581025"/>
          </a:xfrm>
        </p:spPr>
        <p:txBody>
          <a:bodyPr/>
          <a:lstStyle/>
          <a:p>
            <a:r>
              <a:rPr lang="en-US"/>
              <a:t>Allotment Confirmation Attestations</a:t>
            </a:r>
          </a:p>
        </p:txBody>
      </p:sp>
    </p:spTree>
    <p:extLst>
      <p:ext uri="{BB962C8B-B14F-4D97-AF65-F5344CB8AC3E}">
        <p14:creationId xmlns:p14="http://schemas.microsoft.com/office/powerpoint/2010/main" val="1577832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75172-F1BE-0140-93BD-F8BF09E7A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SCOMS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1F89E8-A6DB-6B51-5CDF-1F4A79800B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393" y="804422"/>
            <a:ext cx="10071420" cy="4880367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50000"/>
              </a:lnSpc>
              <a:buNone/>
            </a:pPr>
            <a:endParaRPr lang="en-US" sz="2400"/>
          </a:p>
          <a:p>
            <a:pPr>
              <a:lnSpc>
                <a:spcPct val="150000"/>
              </a:lnSpc>
            </a:pPr>
            <a:r>
              <a:rPr lang="en-US" sz="2400"/>
              <a:t>Online Application accessed through TEAL </a:t>
            </a:r>
          </a:p>
          <a:p>
            <a:pPr>
              <a:lnSpc>
                <a:spcPct val="120000"/>
              </a:lnSpc>
            </a:pPr>
            <a:r>
              <a:rPr lang="en-US" sz="2400"/>
              <a:t>TEA administrators process designations and allotments, create reports, and export allotments for the Foundation School Program (FSP)</a:t>
            </a:r>
          </a:p>
          <a:p>
            <a:pPr>
              <a:lnSpc>
                <a:spcPct val="110000"/>
              </a:lnSpc>
            </a:pPr>
            <a:r>
              <a:rPr lang="en-US" sz="2400"/>
              <a:t>LEA users may </a:t>
            </a:r>
            <a:r>
              <a:rPr lang="en-US" sz="2400" b="1"/>
              <a:t>view, sort, filter and export </a:t>
            </a:r>
            <a:r>
              <a:rPr lang="en-US" sz="2400"/>
              <a:t>annual allotment data, including fee reimbursements, if applicable</a:t>
            </a:r>
          </a:p>
          <a:p>
            <a:pPr>
              <a:lnSpc>
                <a:spcPct val="150000"/>
              </a:lnSpc>
            </a:pPr>
            <a:r>
              <a:rPr lang="en-US" sz="2400"/>
              <a:t>Districts verify and confirm annual allotment in SCOMS</a:t>
            </a:r>
          </a:p>
          <a:p>
            <a:pPr>
              <a:lnSpc>
                <a:spcPct val="150000"/>
              </a:lnSpc>
            </a:pPr>
            <a:r>
              <a:rPr lang="en-US" sz="2400"/>
              <a:t>If needed, districts may dispute allotment values in SCOMS</a:t>
            </a:r>
          </a:p>
          <a:p>
            <a:pPr>
              <a:lnSpc>
                <a:spcPct val="100000"/>
              </a:lnSpc>
            </a:pPr>
            <a:r>
              <a:rPr lang="en-US" sz="2400"/>
              <a:t>For districts with approved local designation systems, SCOMS maintains history of submitted designations</a:t>
            </a:r>
          </a:p>
          <a:p>
            <a:pPr indent="0">
              <a:lnSpc>
                <a:spcPct val="120000"/>
              </a:lnSpc>
              <a:buNone/>
            </a:pPr>
            <a:endParaRPr lang="en-US" sz="280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403784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504A5-1D97-631D-8E1F-254CED954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questing SCOMS Acces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6CFDC4F-3B98-EA0F-AD3B-A74474628E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9393" y="1662758"/>
            <a:ext cx="5181600" cy="4351338"/>
          </a:xfrm>
        </p:spPr>
        <p:txBody>
          <a:bodyPr>
            <a:normAutofit fontScale="85000" lnSpcReduction="20000"/>
          </a:bodyPr>
          <a:lstStyle/>
          <a:p>
            <a:pPr marL="565150" indent="-514350">
              <a:buAutoNum type="arabicPeriod"/>
            </a:pPr>
            <a:r>
              <a:rPr lang="en-US" sz="2100"/>
              <a:t>Sign into your TEAL Account. To create a new account, please visit  </a:t>
            </a:r>
            <a:r>
              <a:rPr lang="en-US" sz="2100">
                <a:hlinkClick r:id="rId2"/>
              </a:rPr>
              <a:t>https://tea.texas.gov/about-tea/other-services/secure-applications/teal-account-and-password-help</a:t>
            </a:r>
            <a:r>
              <a:rPr lang="en-US" sz="2100"/>
              <a:t> </a:t>
            </a:r>
          </a:p>
          <a:p>
            <a:pPr marL="508000" indent="-457200">
              <a:buAutoNum type="arabicPeriod"/>
            </a:pPr>
            <a:r>
              <a:rPr lang="en-US" sz="2100"/>
              <a:t>Click “My Application Accounts.”</a:t>
            </a:r>
          </a:p>
          <a:p>
            <a:pPr marL="508000" indent="-457200">
              <a:buAutoNum type="arabicPeriod"/>
            </a:pPr>
            <a:r>
              <a:rPr lang="en-US" sz="2100"/>
              <a:t>Request New Account. </a:t>
            </a:r>
          </a:p>
          <a:p>
            <a:pPr marL="508000" indent="-457200">
              <a:buAutoNum type="arabicPeriod"/>
            </a:pPr>
            <a:r>
              <a:rPr lang="en-US" sz="2100"/>
              <a:t>Select SCOMS from the Application IDs.</a:t>
            </a:r>
          </a:p>
          <a:p>
            <a:pPr marL="508000" indent="-457200">
              <a:buAutoNum type="arabicPeriod"/>
            </a:pPr>
            <a:r>
              <a:rPr lang="en-US" sz="2100"/>
              <a:t>Click “Add Access.”</a:t>
            </a:r>
          </a:p>
          <a:p>
            <a:pPr marL="508000" indent="-457200">
              <a:buAutoNum type="arabicPeriod"/>
            </a:pPr>
            <a:r>
              <a:rPr lang="en-US" sz="2100"/>
              <a:t>Notify district TEAL approver if needed. This is typically the superintendent.</a:t>
            </a:r>
          </a:p>
          <a:p>
            <a:pPr marL="508000" indent="-457200">
              <a:buAutoNum type="arabicPeriod"/>
            </a:pPr>
            <a:r>
              <a:rPr lang="en-US" sz="2100"/>
              <a:t>Submit a Help Desk ticket for assistance. </a:t>
            </a:r>
          </a:p>
          <a:p>
            <a:pPr marL="50800" indent="0">
              <a:buNone/>
            </a:pPr>
            <a:endParaRPr lang="en-US" sz="2300" b="1">
              <a:solidFill>
                <a:schemeClr val="accent4"/>
              </a:solidFill>
            </a:endParaRPr>
          </a:p>
          <a:p>
            <a:pPr marL="50800" indent="0">
              <a:buNone/>
            </a:pPr>
            <a:r>
              <a:rPr lang="en-US" sz="2300" b="1">
                <a:solidFill>
                  <a:schemeClr val="accent4"/>
                </a:solidFill>
              </a:rPr>
              <a:t>Do Not approve account requests from teachers.</a:t>
            </a:r>
          </a:p>
          <a:p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5" name="Picture 4" descr="Screenshot image of TEAL account request for familiarity">
            <a:extLst>
              <a:ext uri="{FF2B5EF4-FFF2-40B4-BE49-F238E27FC236}">
                <a16:creationId xmlns:a16="http://schemas.microsoft.com/office/drawing/2014/main" id="{4F07A4F2-EF2F-99CA-16CF-07C266F40A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8346" y="1860765"/>
            <a:ext cx="6160695" cy="2289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8505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B476D2-630B-5ED1-D06A-E6A3336D0A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o Needs SCOMS Ac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265D19-F045-1E93-FD0B-972EDAA331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o should have an SCOMS accoun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2788AF-AC7F-86DD-E128-F76D52C758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Up to five accounts per LEA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/>
              <a:t>Business office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/>
              <a:t>Human Resources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/>
              <a:t>District TIA lead  </a:t>
            </a:r>
          </a:p>
          <a:p>
            <a:endParaRPr lang="en-US"/>
          </a:p>
          <a:p>
            <a:r>
              <a:rPr lang="en-US"/>
              <a:t>Optional: PEIMS coordinator, data analysts, payroll</a:t>
            </a:r>
          </a:p>
          <a:p>
            <a:endParaRPr lang="en-US"/>
          </a:p>
          <a:p>
            <a:r>
              <a:rPr lang="en-US" u="sng">
                <a:solidFill>
                  <a:schemeClr val="accent4">
                    <a:lumMod val="75000"/>
                  </a:schemeClr>
                </a:solidFill>
              </a:rPr>
              <a:t>Do not grant access to teachers.</a:t>
            </a:r>
          </a:p>
        </p:txBody>
      </p:sp>
    </p:spTree>
    <p:extLst>
      <p:ext uri="{BB962C8B-B14F-4D97-AF65-F5344CB8AC3E}">
        <p14:creationId xmlns:p14="http://schemas.microsoft.com/office/powerpoint/2010/main" val="1978006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CF4225E-4D19-4CB8-9855-86332ED4E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OMS for TEA User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3F789D88-A58B-A8F9-0501-EA72452BD1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1318" y="1695413"/>
            <a:ext cx="11374825" cy="2949941"/>
            <a:chOff x="401318" y="1695413"/>
            <a:chExt cx="11374825" cy="2949941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A372B1FB-3B28-3FC2-8442-C0AB6B835BC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450877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4DBE190-D904-EC02-3282-7842331D580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01318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847CBAE-7889-110C-E6CC-D5E4036AE65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415857" y="1698219"/>
              <a:ext cx="1958949" cy="17761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3D81D09-3D51-D7F0-1000-11D987B6DED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751171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BE72B18-47CE-E0B9-9E00-7BDF9EA804F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765710" y="1700666"/>
              <a:ext cx="1958949" cy="123487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ECA58DE-A568-B158-C233-93FAC9C5AD4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01024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1EC7D77-6E36-D77F-A419-B5A3E40CE7F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5115563" y="1700667"/>
              <a:ext cx="1958949" cy="12348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B80505B-2ACC-07DE-EFAE-86E7E2347FE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800730" y="1695413"/>
              <a:ext cx="1975413" cy="23844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D604B8B-C7E1-88E3-EBAC-EA014F4EBD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9798805" y="1700666"/>
              <a:ext cx="1975413" cy="12731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4BB16551-D7CB-B150-A7D9-5A45E4039CF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7448952" y="1700666"/>
              <a:ext cx="1975413" cy="12731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6D9C40CD-4C86-173B-9499-8C7C0F5F110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6" idx="0"/>
              <a:endCxn id="69" idx="2"/>
            </p:cNvCxnSpPr>
            <p:nvPr/>
          </p:nvCxnSpPr>
          <p:spPr>
            <a:xfrm flipV="1">
              <a:off x="1387100" y="4079864"/>
              <a:ext cx="0" cy="551209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7094D4D5-4736-35FC-4A49-4D9119E502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26" idx="0"/>
              <a:endCxn id="76" idx="2"/>
            </p:cNvCxnSpPr>
            <p:nvPr/>
          </p:nvCxnSpPr>
          <p:spPr>
            <a:xfrm flipV="1">
              <a:off x="3752184" y="4085935"/>
              <a:ext cx="1233" cy="503164"/>
            </a:xfrm>
            <a:prstGeom prst="line">
              <a:avLst/>
            </a:prstGeom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47B52917-2955-6DF1-6A96-4363598C44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endCxn id="79" idx="2"/>
            </p:cNvCxnSpPr>
            <p:nvPr/>
          </p:nvCxnSpPr>
          <p:spPr>
            <a:xfrm flipV="1">
              <a:off x="6100128" y="4015159"/>
              <a:ext cx="3142" cy="630195"/>
            </a:xfrm>
            <a:prstGeom prst="line">
              <a:avLst/>
            </a:prstGeom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D38491CA-CBBB-75E3-F42D-293F7CA154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42" idx="0"/>
              <a:endCxn id="80" idx="2"/>
            </p:cNvCxnSpPr>
            <p:nvPr/>
          </p:nvCxnSpPr>
          <p:spPr>
            <a:xfrm flipV="1">
              <a:off x="8429079" y="4077194"/>
              <a:ext cx="2235" cy="556585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0DBE7C7F-0BC5-D4FB-9C65-0EF4B5454E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CxnSpPr>
              <a:cxnSpLocks/>
              <a:stCxn id="32" idx="0"/>
              <a:endCxn id="50" idx="2"/>
            </p:cNvCxnSpPr>
            <p:nvPr/>
          </p:nvCxnSpPr>
          <p:spPr>
            <a:xfrm flipH="1" flipV="1">
              <a:off x="10788437" y="4079865"/>
              <a:ext cx="4399" cy="533571"/>
            </a:xfrm>
            <a:prstGeom prst="line">
              <a:avLst/>
            </a:prstGeom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569ABE-70E2-B09A-D37C-FC0F3BF633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9393" y="5037629"/>
            <a:ext cx="11395210" cy="0"/>
          </a:xfrm>
          <a:prstGeom prst="line">
            <a:avLst/>
          </a:prstGeom>
          <a:ln w="38100"/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id="{B533B50B-121C-069B-A079-F10C2D7532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3695" y="4631073"/>
            <a:ext cx="766810" cy="76681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0BFC14A-37B3-4A6D-2180-9D23FB8B66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68779" y="4589099"/>
            <a:ext cx="766810" cy="76681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4E83F7E-5E84-AC17-9DF5-4F0A98A31C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19307" y="4613436"/>
            <a:ext cx="766810" cy="7668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833A3B5-62FA-0D01-7B9C-767ADE278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48573" y="4617149"/>
            <a:ext cx="766810" cy="76681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07C166D7-F604-D160-7BF0-39438FAC0E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409431" y="4613436"/>
            <a:ext cx="766810" cy="76681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5E069CDF-7EA6-43C9-31BC-53B13B9C9A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06129" y="4633779"/>
            <a:ext cx="645899" cy="645899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7D698EF9-9AB7-C05E-2F06-9CE0C3BD02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812519" y="4656586"/>
            <a:ext cx="645899" cy="645899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57B16A05-4B18-47C8-7A03-35D5C4B2E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2112442" y="4581605"/>
            <a:ext cx="914400" cy="914400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DC97D25F-C2D6-5E72-16D0-7B7C3CF4A0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4499184" y="4596961"/>
            <a:ext cx="914400" cy="914400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EDC8530E-9A11-F0E2-06BB-B7D9228FA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6810145" y="4589099"/>
            <a:ext cx="914400" cy="91440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8026F553-B536-F8B2-1FB9-35C4A9872B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9149195" y="4589099"/>
            <a:ext cx="914400" cy="91440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39F50354-00B5-D333-E9EE-B9F7378C780F}"/>
              </a:ext>
            </a:extLst>
          </p:cNvPr>
          <p:cNvSpPr txBox="1"/>
          <p:nvPr/>
        </p:nvSpPr>
        <p:spPr>
          <a:xfrm>
            <a:off x="399393" y="1947167"/>
            <a:ext cx="1975413" cy="2132697"/>
          </a:xfrm>
          <a:prstGeom prst="rect">
            <a:avLst/>
          </a:prstGeom>
          <a:noFill/>
        </p:spPr>
        <p:txBody>
          <a:bodyPr wrap="square" rtlCol="0">
            <a:normAutofit fontScale="92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imports new designations. New and existing designations run through system check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87 Teacher Role I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ear of Service Che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s district and campus(es) of employ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6440EBF8-1E71-646F-4D9B-5C536EEF17FE}"/>
              </a:ext>
            </a:extLst>
          </p:cNvPr>
          <p:cNvSpPr txBox="1"/>
          <p:nvPr/>
        </p:nvSpPr>
        <p:spPr>
          <a:xfrm>
            <a:off x="399392" y="5567341"/>
            <a:ext cx="19754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 Roster Winter Submission Check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75D2865-7ECB-07F8-50F8-E4A55CF86B4A}"/>
              </a:ext>
            </a:extLst>
          </p:cNvPr>
          <p:cNvSpPr txBox="1"/>
          <p:nvPr/>
        </p:nvSpPr>
        <p:spPr>
          <a:xfrm>
            <a:off x="2765710" y="2123950"/>
            <a:ext cx="1975413" cy="1961985"/>
          </a:xfrm>
          <a:prstGeom prst="rect">
            <a:avLst/>
          </a:prstGeom>
          <a:noFill/>
        </p:spPr>
        <p:txBody>
          <a:bodyPr wrap="square" rtlCol="0">
            <a:normAutofit fontScale="92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ecks for certificate  sanctions and Do Not Hire (DNH) regist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ents new designations from being award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okes existing designations if sanction or DNH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DBEE132-D29E-BA54-5BCF-97306BB70E3A}"/>
              </a:ext>
            </a:extLst>
          </p:cNvPr>
          <p:cNvSpPr txBox="1"/>
          <p:nvPr/>
        </p:nvSpPr>
        <p:spPr>
          <a:xfrm>
            <a:off x="2709270" y="5567341"/>
            <a:ext cx="1975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nctions/DNH check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238EEF7A-163F-D623-CA97-27AC0CFE38AF}"/>
              </a:ext>
            </a:extLst>
          </p:cNvPr>
          <p:cNvSpPr txBox="1"/>
          <p:nvPr/>
        </p:nvSpPr>
        <p:spPr>
          <a:xfrm>
            <a:off x="5115563" y="2053174"/>
            <a:ext cx="1975413" cy="1961985"/>
          </a:xfrm>
          <a:prstGeom prst="rect">
            <a:avLst/>
          </a:prstGeom>
          <a:noFill/>
        </p:spPr>
        <p:txBody>
          <a:bodyPr wrap="square" rtlCol="0">
            <a:normAutofit fontScale="92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multiple designations, system defaults to higher design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ves designations into “Active” stat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jects designations for teachers who do not qualif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5FB9F69-970D-7058-967D-388DC7DCF93D}"/>
              </a:ext>
            </a:extLst>
          </p:cNvPr>
          <p:cNvSpPr txBox="1"/>
          <p:nvPr/>
        </p:nvSpPr>
        <p:spPr>
          <a:xfrm>
            <a:off x="5099098" y="5567341"/>
            <a:ext cx="1975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ation Determination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6C14890D-073A-5910-17BD-D3BAF02E5441}"/>
              </a:ext>
            </a:extLst>
          </p:cNvPr>
          <p:cNvSpPr txBox="1"/>
          <p:nvPr/>
        </p:nvSpPr>
        <p:spPr>
          <a:xfrm>
            <a:off x="7443607" y="2115209"/>
            <a:ext cx="1975413" cy="1961985"/>
          </a:xfrm>
          <a:prstGeom prst="rect">
            <a:avLst/>
          </a:prstGeom>
          <a:noFill/>
        </p:spPr>
        <p:txBody>
          <a:bodyPr wrap="square" rtlCol="0">
            <a:normAutofit fontScale="92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tches allotment values with campus(es) of employment and level of design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turns on district visibility windo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tches allotments by district for district viewing and verification by 4/24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463E3415-94B4-7F21-3ABC-2A3A6B733DFC}"/>
              </a:ext>
            </a:extLst>
          </p:cNvPr>
          <p:cNvSpPr txBox="1"/>
          <p:nvPr/>
        </p:nvSpPr>
        <p:spPr>
          <a:xfrm>
            <a:off x="7443606" y="5567341"/>
            <a:ext cx="1975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tment Processing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7E6994E-9821-FBE0-7097-7B534CA3F24F}"/>
              </a:ext>
            </a:extLst>
          </p:cNvPr>
          <p:cNvSpPr txBox="1"/>
          <p:nvPr/>
        </p:nvSpPr>
        <p:spPr>
          <a:xfrm>
            <a:off x="9815269" y="1947168"/>
            <a:ext cx="1975413" cy="2118342"/>
          </a:xfrm>
          <a:prstGeom prst="rect">
            <a:avLst/>
          </a:prstGeom>
          <a:noFill/>
        </p:spPr>
        <p:txBody>
          <a:bodyPr wrap="square" rtlCol="0">
            <a:normAutofit fontScale="700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cts confirm/dispute allotments by May </a:t>
            </a:r>
            <a:r>
              <a:rPr lang="en-US" sz="1700">
                <a:solidFill>
                  <a:srgbClr val="000000"/>
                </a:solidFill>
                <a:latin typeface="Calibri" panose="020F0502020204030204"/>
              </a:rPr>
              <a:t>3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resolves errors and confirms final allotments by May 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updates designated teacher certificates to display design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 exports district-level allotment data for FS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FF2CD20D-1EC7-F310-33F2-F7CFDEED9269}"/>
              </a:ext>
            </a:extLst>
          </p:cNvPr>
          <p:cNvSpPr txBox="1"/>
          <p:nvPr/>
        </p:nvSpPr>
        <p:spPr>
          <a:xfrm>
            <a:off x="9815269" y="5567341"/>
            <a:ext cx="19754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rmation</a:t>
            </a:r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22383543-DD07-ECE1-8B53-989579F329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60255" y="4672348"/>
            <a:ext cx="653686" cy="653686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218185B7-9DF3-A44D-D769-7FF1553856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0749" y="4691528"/>
            <a:ext cx="645899" cy="645899"/>
          </a:xfrm>
          <a:prstGeom prst="rect">
            <a:avLst/>
          </a:prstGeom>
        </p:spPr>
      </p:pic>
      <p:pic>
        <p:nvPicPr>
          <p:cNvPr id="12" name="Graphic 11" descr="Gavel outline">
            <a:extLst>
              <a:ext uri="{FF2B5EF4-FFF2-40B4-BE49-F238E27FC236}">
                <a16:creationId xmlns:a16="http://schemas.microsoft.com/office/drawing/2014/main" id="{99B388BF-0838-14CC-F5CF-0B901A3D754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430373" y="4624088"/>
            <a:ext cx="665279" cy="665279"/>
          </a:xfrm>
          <a:prstGeom prst="rect">
            <a:avLst/>
          </a:prstGeom>
        </p:spPr>
      </p:pic>
      <p:pic>
        <p:nvPicPr>
          <p:cNvPr id="14" name="Graphic 13" descr="Ribbon outline">
            <a:extLst>
              <a:ext uri="{FF2B5EF4-FFF2-40B4-BE49-F238E27FC236}">
                <a16:creationId xmlns:a16="http://schemas.microsoft.com/office/drawing/2014/main" id="{D0AB9C08-7FB2-14D0-107E-12C5BEF84A1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445877" y="4631073"/>
            <a:ext cx="714196" cy="714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6100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75172-F1BE-0140-93BD-F8BF09E7A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Home Page</a:t>
            </a:r>
          </a:p>
        </p:txBody>
      </p:sp>
      <p:pic>
        <p:nvPicPr>
          <p:cNvPr id="7" name="Picture 6" descr="home page screenshot">
            <a:extLst>
              <a:ext uri="{FF2B5EF4-FFF2-40B4-BE49-F238E27FC236}">
                <a16:creationId xmlns:a16="http://schemas.microsoft.com/office/drawing/2014/main" id="{ECF2A1F8-9D98-1637-A308-3AA308A6DB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5" y="1466672"/>
            <a:ext cx="9277350" cy="5028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6984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75172-F1BE-0140-93BD-F8BF09E7A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LEA Details</a:t>
            </a:r>
          </a:p>
        </p:txBody>
      </p:sp>
      <p:pic>
        <p:nvPicPr>
          <p:cNvPr id="13" name="Picture 12" descr="Image of LEA contacts page">
            <a:extLst>
              <a:ext uri="{FF2B5EF4-FFF2-40B4-BE49-F238E27FC236}">
                <a16:creationId xmlns:a16="http://schemas.microsoft.com/office/drawing/2014/main" id="{60457AEB-C6F7-AF94-4AD2-245ACC8B85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159" y="1222469"/>
            <a:ext cx="6922874" cy="4831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4832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CC656ED-6E67-7D5F-EACC-9CCA5D31FD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ignations Pag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867EC6-63EC-71C9-0656-7BB83B0AA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092" y="2978408"/>
            <a:ext cx="11373507" cy="4449032"/>
          </a:xfrm>
        </p:spPr>
        <p:txBody>
          <a:bodyPr/>
          <a:lstStyle/>
          <a:p>
            <a:r>
              <a:rPr lang="en-US" sz="2400"/>
              <a:t>Does </a:t>
            </a:r>
            <a:r>
              <a:rPr lang="en-US" sz="2400" u="sng"/>
              <a:t>not</a:t>
            </a:r>
            <a:r>
              <a:rPr lang="en-US" sz="2400"/>
              <a:t> represent designated teachers employed by the LEA</a:t>
            </a:r>
          </a:p>
          <a:p>
            <a:r>
              <a:rPr lang="en-US" sz="2400"/>
              <a:t>Applies to </a:t>
            </a:r>
            <a:r>
              <a:rPr lang="en-US" sz="2400">
                <a:solidFill>
                  <a:schemeClr val="accent4"/>
                </a:solidFill>
              </a:rPr>
              <a:t>LEAs approved to issue designations </a:t>
            </a:r>
            <a:r>
              <a:rPr lang="en-US" sz="2400"/>
              <a:t>under a local designation system</a:t>
            </a:r>
          </a:p>
          <a:p>
            <a:r>
              <a:rPr lang="en-US" sz="2400"/>
              <a:t>Displays </a:t>
            </a:r>
            <a:r>
              <a:rPr lang="en-US" sz="2400">
                <a:solidFill>
                  <a:schemeClr val="accent4"/>
                </a:solidFill>
              </a:rPr>
              <a:t>history of submitted designations </a:t>
            </a:r>
            <a:r>
              <a:rPr lang="en-US" sz="2400"/>
              <a:t>by school year</a:t>
            </a:r>
          </a:p>
          <a:p>
            <a:r>
              <a:rPr lang="en-US" sz="2400"/>
              <a:t>Teacher Name and Unique ID (TSDS), level of designation, expiry date</a:t>
            </a:r>
          </a:p>
          <a:p>
            <a:r>
              <a:rPr lang="en-US" sz="2400"/>
              <a:t>Displays outcomes</a:t>
            </a:r>
          </a:p>
          <a:p>
            <a:pPr lvl="1"/>
            <a:r>
              <a:rPr lang="en-US" sz="2000"/>
              <a:t>Approved-the designation was awarded</a:t>
            </a:r>
          </a:p>
          <a:p>
            <a:pPr lvl="1"/>
            <a:r>
              <a:rPr lang="en-US" sz="2000"/>
              <a:t>Rejected-the teacher did not meet eligibility criteria to earn a designation</a:t>
            </a:r>
          </a:p>
          <a:p>
            <a:pPr lvl="1"/>
            <a:r>
              <a:rPr lang="en-US" sz="2000"/>
              <a:t>Does not reflect the current status or district of employment</a:t>
            </a:r>
          </a:p>
          <a:p>
            <a:pPr marL="0" indent="0">
              <a:buNone/>
            </a:pPr>
            <a:endParaRPr lang="en-US"/>
          </a:p>
        </p:txBody>
      </p:sp>
      <p:pic>
        <p:nvPicPr>
          <p:cNvPr id="4" name="Picture 3" descr="designations page screenshot">
            <a:extLst>
              <a:ext uri="{FF2B5EF4-FFF2-40B4-BE49-F238E27FC236}">
                <a16:creationId xmlns:a16="http://schemas.microsoft.com/office/drawing/2014/main" id="{E8E09832-3C66-6319-12D1-85BE1BADD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1141523"/>
            <a:ext cx="10467659" cy="167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0697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9D7D07-75C5-BEF9-423B-93B4A5E2B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ffice Hours and Session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E8F59B-4E84-9E7B-7CD4-806A0312ED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US" sz="2400"/>
              <a:t>TEA will host allotment verification and spending office hours on May 1</a:t>
            </a:r>
            <a:r>
              <a:rPr lang="en-US" sz="2400" baseline="30000"/>
              <a:t>st</a:t>
            </a:r>
            <a:r>
              <a:rPr lang="en-US" sz="2400"/>
              <a:t> from 9:00-10:00 AM </a:t>
            </a:r>
            <a:r>
              <a:rPr lang="en-US" sz="2400">
                <a:hlinkClick r:id="rId2"/>
              </a:rPr>
              <a:t>Registration Link</a:t>
            </a:r>
            <a:endParaRPr lang="en-US" sz="2400"/>
          </a:p>
          <a:p>
            <a:pPr>
              <a:spcBef>
                <a:spcPts val="1200"/>
              </a:spcBef>
            </a:pPr>
            <a:r>
              <a:rPr lang="en-US" sz="2400"/>
              <a:t>Google Drive resources for today’s session</a:t>
            </a:r>
          </a:p>
          <a:p>
            <a:pPr lvl="1">
              <a:spcBef>
                <a:spcPts val="1200"/>
              </a:spcBef>
            </a:pPr>
            <a:r>
              <a:rPr lang="en-US" sz="2000"/>
              <a:t>Slide deck and session recording (to post by end of day)</a:t>
            </a:r>
          </a:p>
          <a:p>
            <a:pPr lvl="1">
              <a:spcBef>
                <a:spcPts val="1200"/>
              </a:spcBef>
            </a:pPr>
            <a:r>
              <a:rPr lang="en-US" sz="2000"/>
              <a:t>SCOMS District User Guide Spring 2024</a:t>
            </a:r>
          </a:p>
          <a:p>
            <a:pPr lvl="1">
              <a:spcBef>
                <a:spcPts val="1200"/>
              </a:spcBef>
            </a:pPr>
            <a:r>
              <a:rPr lang="en-US" sz="2000"/>
              <a:t>Allotment Confirmation Attestations</a:t>
            </a:r>
          </a:p>
          <a:p>
            <a:pPr lvl="1">
              <a:spcBef>
                <a:spcPts val="1200"/>
              </a:spcBef>
            </a:pPr>
            <a:r>
              <a:rPr lang="en-US" sz="2000"/>
              <a:t>Spending Plan Guidance for Districts Receiving Funding for the First Time</a:t>
            </a:r>
          </a:p>
          <a:p>
            <a:pPr lvl="1">
              <a:spcBef>
                <a:spcPts val="1200"/>
              </a:spcBef>
            </a:pPr>
            <a:r>
              <a:rPr lang="en-US" sz="2000"/>
              <a:t>Copy of May 23 TEA Email to Designated Teacher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0353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75172-F1BE-0140-93BD-F8BF09E7A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Payout Page</a:t>
            </a:r>
          </a:p>
        </p:txBody>
      </p:sp>
      <p:pic>
        <p:nvPicPr>
          <p:cNvPr id="8" name="Picture 7" descr="Screenshot of Payout by School Year page with option to Dispute or Confirm">
            <a:extLst>
              <a:ext uri="{FF2B5EF4-FFF2-40B4-BE49-F238E27FC236}">
                <a16:creationId xmlns:a16="http://schemas.microsoft.com/office/drawing/2014/main" id="{B5AA235A-8323-76F1-78E1-423E9A4A28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" y="1131877"/>
            <a:ext cx="10877550" cy="259147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6516AB5-7057-CF96-2F60-843891C64BFF}"/>
              </a:ext>
            </a:extLst>
          </p:cNvPr>
          <p:cNvSpPr txBox="1"/>
          <p:nvPr/>
        </p:nvSpPr>
        <p:spPr>
          <a:xfrm>
            <a:off x="399393" y="3993502"/>
            <a:ext cx="10405456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w, filter, sort, export allotment data by school year, teacher, campus, and teacher/campus breakdow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w fee reimbursements, if applicable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ort to Excel fun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on to confirm or dispute the allot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ll match with Summary of Finances (SOF) report in September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303540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B129D-F782-4A01-93EA-CD7B886CC0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417" y="4665304"/>
            <a:ext cx="10022719" cy="1055053"/>
          </a:xfrm>
        </p:spPr>
        <p:txBody>
          <a:bodyPr>
            <a:normAutofit fontScale="90000"/>
          </a:bodyPr>
          <a:lstStyle/>
          <a:p>
            <a:r>
              <a:rPr lang="en-US"/>
              <a:t>Verifying and Confirming Allotments</a:t>
            </a:r>
          </a:p>
        </p:txBody>
      </p:sp>
    </p:spTree>
    <p:extLst>
      <p:ext uri="{BB962C8B-B14F-4D97-AF65-F5344CB8AC3E}">
        <p14:creationId xmlns:p14="http://schemas.microsoft.com/office/powerpoint/2010/main" val="39325570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75172-F1BE-0140-93BD-F8BF09E7A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Pre-Work: Confirm Eligible Teach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1F89E8-A6DB-6B51-5CDF-1F4A79800B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57200" indent="-457200">
              <a:buAutoNum type="arabicPeriod"/>
            </a:pPr>
            <a:r>
              <a:rPr lang="en-US" sz="2400" dirty="0"/>
              <a:t>Review local records of:</a:t>
            </a:r>
          </a:p>
          <a:p>
            <a:pPr lvl="1"/>
            <a:r>
              <a:rPr lang="en-US" dirty="0"/>
              <a:t>Teachers submitted for designation in Fall 2023 (approved LEAs only)</a:t>
            </a:r>
          </a:p>
          <a:p>
            <a:pPr lvl="1"/>
            <a:r>
              <a:rPr lang="en-US" dirty="0"/>
              <a:t>Teachers with an existing designation </a:t>
            </a:r>
          </a:p>
          <a:p>
            <a:pPr lvl="1"/>
            <a:r>
              <a:rPr lang="en-US" dirty="0"/>
              <a:t>National Board Certified Teachers who do not yet have a designation </a:t>
            </a:r>
          </a:p>
          <a:p>
            <a:pPr marL="457200" indent="-457200">
              <a:lnSpc>
                <a:spcPct val="200000"/>
              </a:lnSpc>
              <a:buFont typeface="+mj-lt"/>
              <a:buAutoNum type="arabicPeriod"/>
            </a:pPr>
            <a:r>
              <a:rPr lang="en-US" sz="2400" dirty="0"/>
              <a:t>Reference list of teachers sent 2/20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Recommended: create a district tracking document with all potentially eligible teachers with campus(es), Role ID, year of service, and notes on TIA eligibility</a:t>
            </a:r>
          </a:p>
          <a:p>
            <a:pPr marL="457200" lvl="1" indent="0">
              <a:buNone/>
            </a:pPr>
            <a:endParaRPr lang="en-US" sz="2000" b="1" dirty="0"/>
          </a:p>
          <a:p>
            <a:pPr marL="0" indent="0">
              <a:lnSpc>
                <a:spcPct val="150000"/>
              </a:lnSpc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71957795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 descr="Image of table with field headers: teacher first and last name, unique ID, CDCN, Campus, Role ID, year of service, TIA eligible">
            <a:extLst>
              <a:ext uri="{FF2B5EF4-FFF2-40B4-BE49-F238E27FC236}">
                <a16:creationId xmlns:a16="http://schemas.microsoft.com/office/drawing/2014/main" id="{E5250EA9-42AC-1974-87B3-5EB4B056B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Sample District-Created Tracking Document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12677913-C134-041C-51A0-E4056B564E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3014901"/>
              </p:ext>
            </p:extLst>
          </p:nvPr>
        </p:nvGraphicFramePr>
        <p:xfrm>
          <a:off x="399393" y="1479722"/>
          <a:ext cx="10614969" cy="3898555"/>
        </p:xfrm>
        <a:graphic>
          <a:graphicData uri="http://schemas.openxmlformats.org/drawingml/2006/table">
            <a:tbl>
              <a:tblPr firstRow="1" firstCol="1" bandRow="1"/>
              <a:tblGrid>
                <a:gridCol w="663435">
                  <a:extLst>
                    <a:ext uri="{9D8B030D-6E8A-4147-A177-3AD203B41FA5}">
                      <a16:colId xmlns:a16="http://schemas.microsoft.com/office/drawing/2014/main" val="3387753999"/>
                    </a:ext>
                  </a:extLst>
                </a:gridCol>
                <a:gridCol w="663435">
                  <a:extLst>
                    <a:ext uri="{9D8B030D-6E8A-4147-A177-3AD203B41FA5}">
                      <a16:colId xmlns:a16="http://schemas.microsoft.com/office/drawing/2014/main" val="4185139047"/>
                    </a:ext>
                  </a:extLst>
                </a:gridCol>
                <a:gridCol w="928811">
                  <a:extLst>
                    <a:ext uri="{9D8B030D-6E8A-4147-A177-3AD203B41FA5}">
                      <a16:colId xmlns:a16="http://schemas.microsoft.com/office/drawing/2014/main" val="1334762289"/>
                    </a:ext>
                  </a:extLst>
                </a:gridCol>
                <a:gridCol w="796122">
                  <a:extLst>
                    <a:ext uri="{9D8B030D-6E8A-4147-A177-3AD203B41FA5}">
                      <a16:colId xmlns:a16="http://schemas.microsoft.com/office/drawing/2014/main" val="1501058592"/>
                    </a:ext>
                  </a:extLst>
                </a:gridCol>
                <a:gridCol w="796122">
                  <a:extLst>
                    <a:ext uri="{9D8B030D-6E8A-4147-A177-3AD203B41FA5}">
                      <a16:colId xmlns:a16="http://schemas.microsoft.com/office/drawing/2014/main" val="1026498399"/>
                    </a:ext>
                  </a:extLst>
                </a:gridCol>
                <a:gridCol w="1051175">
                  <a:extLst>
                    <a:ext uri="{9D8B030D-6E8A-4147-A177-3AD203B41FA5}">
                      <a16:colId xmlns:a16="http://schemas.microsoft.com/office/drawing/2014/main" val="1679593970"/>
                    </a:ext>
                  </a:extLst>
                </a:gridCol>
                <a:gridCol w="1138162">
                  <a:extLst>
                    <a:ext uri="{9D8B030D-6E8A-4147-A177-3AD203B41FA5}">
                      <a16:colId xmlns:a16="http://schemas.microsoft.com/office/drawing/2014/main" val="3767385886"/>
                    </a:ext>
                  </a:extLst>
                </a:gridCol>
                <a:gridCol w="928811">
                  <a:extLst>
                    <a:ext uri="{9D8B030D-6E8A-4147-A177-3AD203B41FA5}">
                      <a16:colId xmlns:a16="http://schemas.microsoft.com/office/drawing/2014/main" val="2515521086"/>
                    </a:ext>
                  </a:extLst>
                </a:gridCol>
                <a:gridCol w="663435">
                  <a:extLst>
                    <a:ext uri="{9D8B030D-6E8A-4147-A177-3AD203B41FA5}">
                      <a16:colId xmlns:a16="http://schemas.microsoft.com/office/drawing/2014/main" val="4013281706"/>
                    </a:ext>
                  </a:extLst>
                </a:gridCol>
                <a:gridCol w="862467">
                  <a:extLst>
                    <a:ext uri="{9D8B030D-6E8A-4147-A177-3AD203B41FA5}">
                      <a16:colId xmlns:a16="http://schemas.microsoft.com/office/drawing/2014/main" val="3792916405"/>
                    </a:ext>
                  </a:extLst>
                </a:gridCol>
                <a:gridCol w="796122">
                  <a:extLst>
                    <a:ext uri="{9D8B030D-6E8A-4147-A177-3AD203B41FA5}">
                      <a16:colId xmlns:a16="http://schemas.microsoft.com/office/drawing/2014/main" val="4248274113"/>
                    </a:ext>
                  </a:extLst>
                </a:gridCol>
                <a:gridCol w="1326872">
                  <a:extLst>
                    <a:ext uri="{9D8B030D-6E8A-4147-A177-3AD203B41FA5}">
                      <a16:colId xmlns:a16="http://schemas.microsoft.com/office/drawing/2014/main" val="103691612"/>
                    </a:ext>
                  </a:extLst>
                </a:gridCol>
              </a:tblGrid>
              <a:tr h="52520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I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rst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st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que I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DCN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mpus(es)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signation Source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signation Level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le I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 Year of Service?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otment Eligible?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44404"/>
                  </a:ext>
                </a:extLst>
              </a:tr>
              <a:tr h="51381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6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LLY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ARK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999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ally Assigne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existing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ster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1828949"/>
                  </a:ext>
                </a:extLst>
              </a:tr>
              <a:tr h="51381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AAC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DRIGUEZ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02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ower H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BCT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cognize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2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 teacher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C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890618"/>
                  </a:ext>
                </a:extLst>
              </a:tr>
              <a:tr h="51381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8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EMING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123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ladiola Elem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emplary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2380897"/>
                  </a:ext>
                </a:extLst>
              </a:tr>
              <a:tr h="8042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9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LE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ASHINGTON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35, 10090614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gnolia Jr H+ Elem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cognize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lit campu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964706"/>
                  </a:ext>
                </a:extLst>
              </a:tr>
              <a:tr h="51381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0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ETHA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OWN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22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vis M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ster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1689801"/>
                  </a:ext>
                </a:extLst>
              </a:tr>
              <a:tr h="51381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02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ENNIFER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HEPHER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14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gnolia Elem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emplary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igned 1/21/24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0" marR="42890" marT="45670" marB="456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40536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21059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A9D0B1-1AA6-D861-8006-8F8ED5ADE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view Designation Outco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3F17D6-6098-1EB1-CA93-06E3ADB07A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9246" y="1314255"/>
            <a:ext cx="11373507" cy="50413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200" b="1">
                <a:solidFill>
                  <a:schemeClr val="accent4"/>
                </a:solidFill>
              </a:rPr>
              <a:t>For districts approved to award designations in 2023-24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/>
              <a:t>From the home page, click Designation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/>
              <a:t>Select 2023-24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/>
              <a:t>View each teacher designation and outcome (can export to Excel). Reasons for Rejected designation status:</a:t>
            </a:r>
          </a:p>
          <a:p>
            <a:pPr lvl="1"/>
            <a:r>
              <a:rPr lang="en-US" sz="1900"/>
              <a:t>Not reported in the Class Roster Winter Submission</a:t>
            </a:r>
          </a:p>
          <a:p>
            <a:pPr lvl="1"/>
            <a:r>
              <a:rPr lang="en-US" sz="1900"/>
              <a:t>Reported in Class Roster in a different LEA (moved districts mid-year)</a:t>
            </a:r>
          </a:p>
          <a:p>
            <a:pPr lvl="1"/>
            <a:r>
              <a:rPr lang="en-US" sz="1900"/>
              <a:t>Reported with a Role ID other than 087</a:t>
            </a:r>
          </a:p>
          <a:p>
            <a:pPr lvl="1"/>
            <a:r>
              <a:rPr lang="en-US" sz="1900"/>
              <a:t>Reported as not meeting the creditable year of service</a:t>
            </a:r>
          </a:p>
          <a:p>
            <a:pPr lvl="1"/>
            <a:r>
              <a:rPr lang="en-US" sz="1900"/>
              <a:t>The educator has a sanctioned certificate or is listed in the Do Not Hire registry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/>
              <a:t>Compare outcomes with local records for teacher eligibility</a:t>
            </a:r>
          </a:p>
          <a:p>
            <a:pPr lvl="1"/>
            <a:r>
              <a:rPr lang="en-US" sz="1900"/>
              <a:t>Were any teachers Approved who did not meet eligibility criteria?</a:t>
            </a:r>
          </a:p>
          <a:p>
            <a:pPr lvl="1"/>
            <a:r>
              <a:rPr lang="en-US" sz="1900"/>
              <a:t>Were any teachers Rejected who met eligibility criteria?</a:t>
            </a:r>
          </a:p>
          <a:p>
            <a:pPr lvl="1"/>
            <a:r>
              <a:rPr lang="en-US" sz="1900"/>
              <a:t>Are any teachers missing from the list? 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166220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EBD3E-2431-8C20-89CB-7ED85582F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view Allotments by Teach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840A70-C37A-A7E0-56C7-94E510FAB6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7318" y="1295593"/>
            <a:ext cx="11373507" cy="4449032"/>
          </a:xfrm>
        </p:spPr>
        <p:txBody>
          <a:bodyPr>
            <a:normAutofit/>
          </a:bodyPr>
          <a:lstStyle/>
          <a:p>
            <a:pPr marL="514350" indent="-514350">
              <a:buAutoNum type="arabicPeriod"/>
            </a:pPr>
            <a:r>
              <a:rPr lang="en-US" sz="1600"/>
              <a:t>Visit the Payout page and select By Teacher from the header</a:t>
            </a:r>
          </a:p>
          <a:p>
            <a:pPr marL="514350" indent="-514350">
              <a:buAutoNum type="arabicPeriod"/>
            </a:pPr>
            <a:r>
              <a:rPr lang="en-US" sz="1600"/>
              <a:t>View and/or export teacher-generated allotments</a:t>
            </a:r>
          </a:p>
          <a:p>
            <a:pPr marL="514350" indent="-514350">
              <a:buAutoNum type="arabicPeriod"/>
            </a:pPr>
            <a:r>
              <a:rPr lang="en-US" sz="1600"/>
              <a:t>Compare to district records for eligible teachers</a:t>
            </a:r>
          </a:p>
          <a:p>
            <a:pPr marL="514350" indent="-514350">
              <a:buAutoNum type="arabicPeriod"/>
            </a:pPr>
            <a:r>
              <a:rPr lang="en-US" sz="1600"/>
              <a:t>Ensure all teachers identified as eligible appear on the Payout by Teacher Page</a:t>
            </a:r>
          </a:p>
          <a:p>
            <a:pPr marL="514350" indent="-514350">
              <a:buAutoNum type="arabicPeriod"/>
            </a:pPr>
            <a:r>
              <a:rPr lang="en-US" sz="1600"/>
              <a:t>View and/or export from the Teacher/Campus Breakdown and verify each teacher was reported at the correct campus(es)</a:t>
            </a:r>
          </a:p>
        </p:txBody>
      </p:sp>
      <p:pic>
        <p:nvPicPr>
          <p:cNvPr id="4" name="Picture 3" descr="payout screenshot ">
            <a:extLst>
              <a:ext uri="{FF2B5EF4-FFF2-40B4-BE49-F238E27FC236}">
                <a16:creationId xmlns:a16="http://schemas.microsoft.com/office/drawing/2014/main" id="{F0834534-EEDF-90F3-5989-FEC7A7C5605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393" y="3351391"/>
            <a:ext cx="7117938" cy="3074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9554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86E11F-16CD-B72E-BB27-FFF98FDD7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Teachers Serving on Multiple Campus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44C6E0-BE26-0228-17FB-7D0614ABC0F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How is the allotment calculated for teachers at multiple campuses?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345645-4549-93A4-F196-A53C124CDF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COMS will divide each campus allotment by the total number of reported campuses, and then sum the campus allotments. </a:t>
            </a:r>
          </a:p>
        </p:txBody>
      </p:sp>
    </p:spTree>
    <p:extLst>
      <p:ext uri="{BB962C8B-B14F-4D97-AF65-F5344CB8AC3E}">
        <p14:creationId xmlns:p14="http://schemas.microsoft.com/office/powerpoint/2010/main" val="18304074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3E382E-1419-5E6F-F638-CAD6623E7B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erifying Allot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B454A7-A900-EDA8-343E-70D9240FC1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/>
              <a:t>Steps to verification </a:t>
            </a:r>
            <a:r>
              <a:rPr lang="en-US" sz="2400" b="1"/>
              <a:t>before confirming </a:t>
            </a:r>
            <a:r>
              <a:rPr lang="en-US" sz="2400"/>
              <a:t>the allotment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 sz="2000" i="1">
                <a:solidFill>
                  <a:schemeClr val="accent4"/>
                </a:solidFill>
              </a:rPr>
              <a:t>For districts with approved designation systems</a:t>
            </a:r>
            <a:r>
              <a:rPr lang="en-US" sz="2000"/>
              <a:t>, review Designation data and compare to local records</a:t>
            </a:r>
          </a:p>
          <a:p>
            <a:pPr marL="1543050" lvl="3" indent="-457200">
              <a:buFont typeface="Wingdings" panose="05000000000000000000" pitchFamily="2" charset="2"/>
              <a:buChar char="q"/>
            </a:pPr>
            <a:r>
              <a:rPr lang="en-US"/>
              <a:t>Are all </a:t>
            </a:r>
            <a:r>
              <a:rPr lang="en-US" b="1"/>
              <a:t>eligible</a:t>
            </a:r>
            <a:r>
              <a:rPr lang="en-US"/>
              <a:t> teachers submitted for </a:t>
            </a:r>
            <a:r>
              <a:rPr lang="en-US" b="1"/>
              <a:t>new designations </a:t>
            </a:r>
            <a:r>
              <a:rPr lang="en-US"/>
              <a:t>in Fall 2023 listed and in Approved status? </a:t>
            </a:r>
          </a:p>
          <a:p>
            <a:pPr marL="1543050" lvl="3" indent="-457200">
              <a:buFont typeface="Wingdings" panose="05000000000000000000" pitchFamily="2" charset="2"/>
              <a:buChar char="q"/>
            </a:pPr>
            <a:r>
              <a:rPr lang="en-US"/>
              <a:t>Are any teachers in Approved status who should not be eligible? </a:t>
            </a:r>
          </a:p>
          <a:p>
            <a:pPr marL="1543050" lvl="3" indent="-457200">
              <a:buFont typeface="Wingdings" panose="05000000000000000000" pitchFamily="2" charset="2"/>
              <a:buChar char="q"/>
            </a:pPr>
            <a:r>
              <a:rPr lang="en-US"/>
              <a:t>Are any teachers in Rejected status who should be eligible?</a:t>
            </a:r>
          </a:p>
          <a:p>
            <a:pPr marL="1543050" lvl="3" indent="-457200">
              <a:buFont typeface="Wingdings" panose="05000000000000000000" pitchFamily="2" charset="2"/>
              <a:buChar char="q"/>
            </a:pPr>
            <a:r>
              <a:rPr lang="en-US"/>
              <a:t>Are any teachers missing from the designation list?</a:t>
            </a:r>
            <a:endParaRPr lang="en-US" sz="2000"/>
          </a:p>
          <a:p>
            <a:pPr marL="685800" lvl="1" indent="-457200">
              <a:buFont typeface="+mj-lt"/>
              <a:buAutoNum type="arabicPeriod"/>
            </a:pPr>
            <a:r>
              <a:rPr lang="en-US" sz="2000"/>
              <a:t>Review Payout by Teacher and Payout Teacher/Campus Breakdown data</a:t>
            </a:r>
          </a:p>
          <a:p>
            <a:pPr marL="1543050" lvl="3" indent="-457200">
              <a:buFont typeface="Wingdings" panose="05000000000000000000" pitchFamily="2" charset="2"/>
              <a:buChar char="q"/>
            </a:pPr>
            <a:r>
              <a:rPr lang="en-US" sz="1600"/>
              <a:t>Did all eligible teachers (new and/or existing designations) generate an allotment? </a:t>
            </a:r>
          </a:p>
          <a:p>
            <a:pPr marL="1543050" lvl="3" indent="-457200">
              <a:buFont typeface="Wingdings" panose="05000000000000000000" pitchFamily="2" charset="2"/>
              <a:buChar char="q"/>
            </a:pPr>
            <a:r>
              <a:rPr lang="en-US" sz="1600"/>
              <a:t>Was the correct campus reported for all eligible teachers?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 sz="2000"/>
              <a:t>If any discrepancies are found, make notes in your district’s tracking document.  Add columns if needed to track if disputes are needed. </a:t>
            </a: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3499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F81BAF8-BB2E-4855-4398-C9E7B1862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Sample Tracking Document with Dispute Not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FF9B48F-BEF8-924B-29D7-8E475FF243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1496517"/>
              </p:ext>
            </p:extLst>
          </p:nvPr>
        </p:nvGraphicFramePr>
        <p:xfrm>
          <a:off x="554916" y="1453180"/>
          <a:ext cx="10708830" cy="4573549"/>
        </p:xfrm>
        <a:graphic>
          <a:graphicData uri="http://schemas.openxmlformats.org/drawingml/2006/table">
            <a:tbl>
              <a:tblPr firstRow="1" firstCol="1" bandRow="1"/>
              <a:tblGrid>
                <a:gridCol w="580742">
                  <a:extLst>
                    <a:ext uri="{9D8B030D-6E8A-4147-A177-3AD203B41FA5}">
                      <a16:colId xmlns:a16="http://schemas.microsoft.com/office/drawing/2014/main" val="1344884274"/>
                    </a:ext>
                  </a:extLst>
                </a:gridCol>
                <a:gridCol w="648597">
                  <a:extLst>
                    <a:ext uri="{9D8B030D-6E8A-4147-A177-3AD203B41FA5}">
                      <a16:colId xmlns:a16="http://schemas.microsoft.com/office/drawing/2014/main" val="405696701"/>
                    </a:ext>
                  </a:extLst>
                </a:gridCol>
                <a:gridCol w="843177">
                  <a:extLst>
                    <a:ext uri="{9D8B030D-6E8A-4147-A177-3AD203B41FA5}">
                      <a16:colId xmlns:a16="http://schemas.microsoft.com/office/drawing/2014/main" val="2293027021"/>
                    </a:ext>
                  </a:extLst>
                </a:gridCol>
                <a:gridCol w="778315">
                  <a:extLst>
                    <a:ext uri="{9D8B030D-6E8A-4147-A177-3AD203B41FA5}">
                      <a16:colId xmlns:a16="http://schemas.microsoft.com/office/drawing/2014/main" val="2578684365"/>
                    </a:ext>
                  </a:extLst>
                </a:gridCol>
                <a:gridCol w="713461">
                  <a:extLst>
                    <a:ext uri="{9D8B030D-6E8A-4147-A177-3AD203B41FA5}">
                      <a16:colId xmlns:a16="http://schemas.microsoft.com/office/drawing/2014/main" val="1422747980"/>
                    </a:ext>
                  </a:extLst>
                </a:gridCol>
                <a:gridCol w="726428">
                  <a:extLst>
                    <a:ext uri="{9D8B030D-6E8A-4147-A177-3AD203B41FA5}">
                      <a16:colId xmlns:a16="http://schemas.microsoft.com/office/drawing/2014/main" val="1719236988"/>
                    </a:ext>
                  </a:extLst>
                </a:gridCol>
                <a:gridCol w="778315">
                  <a:extLst>
                    <a:ext uri="{9D8B030D-6E8A-4147-A177-3AD203B41FA5}">
                      <a16:colId xmlns:a16="http://schemas.microsoft.com/office/drawing/2014/main" val="1526230343"/>
                    </a:ext>
                  </a:extLst>
                </a:gridCol>
                <a:gridCol w="778315">
                  <a:extLst>
                    <a:ext uri="{9D8B030D-6E8A-4147-A177-3AD203B41FA5}">
                      <a16:colId xmlns:a16="http://schemas.microsoft.com/office/drawing/2014/main" val="2604870849"/>
                    </a:ext>
                  </a:extLst>
                </a:gridCol>
                <a:gridCol w="580742">
                  <a:extLst>
                    <a:ext uri="{9D8B030D-6E8A-4147-A177-3AD203B41FA5}">
                      <a16:colId xmlns:a16="http://schemas.microsoft.com/office/drawing/2014/main" val="3132377943"/>
                    </a:ext>
                  </a:extLst>
                </a:gridCol>
                <a:gridCol w="583734">
                  <a:extLst>
                    <a:ext uri="{9D8B030D-6E8A-4147-A177-3AD203B41FA5}">
                      <a16:colId xmlns:a16="http://schemas.microsoft.com/office/drawing/2014/main" val="4038408677"/>
                    </a:ext>
                  </a:extLst>
                </a:gridCol>
                <a:gridCol w="648597">
                  <a:extLst>
                    <a:ext uri="{9D8B030D-6E8A-4147-A177-3AD203B41FA5}">
                      <a16:colId xmlns:a16="http://schemas.microsoft.com/office/drawing/2014/main" val="3347766403"/>
                    </a:ext>
                  </a:extLst>
                </a:gridCol>
                <a:gridCol w="778315">
                  <a:extLst>
                    <a:ext uri="{9D8B030D-6E8A-4147-A177-3AD203B41FA5}">
                      <a16:colId xmlns:a16="http://schemas.microsoft.com/office/drawing/2014/main" val="3087615697"/>
                    </a:ext>
                  </a:extLst>
                </a:gridCol>
                <a:gridCol w="713461">
                  <a:extLst>
                    <a:ext uri="{9D8B030D-6E8A-4147-A177-3AD203B41FA5}">
                      <a16:colId xmlns:a16="http://schemas.microsoft.com/office/drawing/2014/main" val="1442578061"/>
                    </a:ext>
                  </a:extLst>
                </a:gridCol>
                <a:gridCol w="648597">
                  <a:extLst>
                    <a:ext uri="{9D8B030D-6E8A-4147-A177-3AD203B41FA5}">
                      <a16:colId xmlns:a16="http://schemas.microsoft.com/office/drawing/2014/main" val="4237384043"/>
                    </a:ext>
                  </a:extLst>
                </a:gridCol>
                <a:gridCol w="908034">
                  <a:extLst>
                    <a:ext uri="{9D8B030D-6E8A-4147-A177-3AD203B41FA5}">
                      <a16:colId xmlns:a16="http://schemas.microsoft.com/office/drawing/2014/main" val="4072153747"/>
                    </a:ext>
                  </a:extLst>
                </a:gridCol>
              </a:tblGrid>
              <a:tr h="94949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I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rst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st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que I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DCM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mpus(es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signation Source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signation Level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le I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 Year of Service?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otment Eligible?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otment Generate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OMS Reported Campu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spute Required?</a:t>
                      </a:r>
                      <a:endParaRPr lang="en-US" sz="1000"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5457678"/>
                  </a:ext>
                </a:extLst>
              </a:tr>
              <a:tr h="50344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6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LLY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ARK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999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ally Assigne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exist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ster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5,61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999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7137543"/>
                  </a:ext>
                </a:extLst>
              </a:tr>
              <a:tr h="50344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AAC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DRIGUEZ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0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ower H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BCT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cognize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1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 teacher this year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,76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0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, not 08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C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48945"/>
                  </a:ext>
                </a:extLst>
              </a:tr>
              <a:tr h="50344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8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AM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EMING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12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ladiola Elem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emplary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,32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12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3612342"/>
                  </a:ext>
                </a:extLst>
              </a:tr>
              <a:tr h="5534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9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LE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ASHINGTON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35, 10090614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gnolia Jr H+ Elem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cognize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lit campu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,51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35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, not reported at both campus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C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634551"/>
                  </a:ext>
                </a:extLst>
              </a:tr>
              <a:tr h="50344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50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ETHA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ROWN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2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vis M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ster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,655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2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7521492"/>
                  </a:ext>
                </a:extLst>
              </a:tr>
              <a:tr h="45348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40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ENNIFER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HEPHER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14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gnolia Elem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ocal System, new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emplary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igned 1/21/24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265268"/>
                  </a:ext>
                </a:extLst>
              </a:tr>
              <a:tr h="60337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003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AVID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OMEZ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XXXXXXXXXX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906002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lower H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isting through other LEA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xemplary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87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/a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, not on allotment repor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5813" marR="25813" marT="27486" marB="27486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C2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8483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300974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B75172-F1BE-0140-93BD-F8BF09E7A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/>
              <a:t>Verify Fee Reimbursements If Applicab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1F89E8-A6DB-6B51-5CDF-1F4A79800B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67344" y="1253331"/>
            <a:ext cx="9659007" cy="4351338"/>
          </a:xfrm>
        </p:spPr>
        <p:txBody>
          <a:bodyPr>
            <a:norm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/>
              <a:t>Only applies to districts that:</a:t>
            </a:r>
          </a:p>
          <a:p>
            <a:pPr lvl="1">
              <a:lnSpc>
                <a:spcPct val="150000"/>
              </a:lnSpc>
            </a:pPr>
            <a:r>
              <a:rPr lang="en-US" sz="2000"/>
              <a:t>Submitted new teacher designations in Fall 2023</a:t>
            </a:r>
            <a:endParaRPr lang="en-US" sz="2000">
              <a:cs typeface="Calibri"/>
            </a:endParaRPr>
          </a:p>
          <a:p>
            <a:pPr lvl="1">
              <a:lnSpc>
                <a:spcPct val="150000"/>
              </a:lnSpc>
            </a:pPr>
            <a:r>
              <a:rPr lang="en-US" sz="2000"/>
              <a:t>Submitted system renewal fees in April 2024</a:t>
            </a:r>
          </a:p>
          <a:p>
            <a:pPr lvl="1">
              <a:lnSpc>
                <a:spcPct val="150000"/>
              </a:lnSpc>
            </a:pPr>
            <a:r>
              <a:rPr lang="en-US" sz="2000"/>
              <a:t>Submitted a request for National Board fee reimbursement</a:t>
            </a:r>
          </a:p>
          <a:p>
            <a:pPr lvl="1">
              <a:lnSpc>
                <a:spcPct val="150000"/>
              </a:lnSpc>
            </a:pPr>
            <a:r>
              <a:rPr lang="en-US" sz="2000"/>
              <a:t>Are receiving fee reimbursements on behalf of an 1882 partner</a:t>
            </a:r>
          </a:p>
          <a:p>
            <a:pPr>
              <a:lnSpc>
                <a:spcPct val="150000"/>
              </a:lnSpc>
            </a:pPr>
            <a:r>
              <a:rPr lang="en-US" sz="2400"/>
              <a:t>Verify fee data in SCOMS reflects records from the district business office</a:t>
            </a:r>
          </a:p>
          <a:p>
            <a:pPr>
              <a:lnSpc>
                <a:spcPct val="150000"/>
              </a:lnSpc>
            </a:pPr>
            <a:r>
              <a:rPr lang="en-US" sz="2400"/>
              <a:t>For fee discrepancies, please email </a:t>
            </a:r>
            <a:r>
              <a:rPr lang="en-US" sz="2400">
                <a:hlinkClick r:id="rId3"/>
              </a:rPr>
              <a:t>TIA@tea.Texas.gov</a:t>
            </a:r>
            <a:r>
              <a:rPr lang="en-US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8232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8496D5-5570-0BDF-2A9A-4B0F04315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Resourc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EF87A2-331A-9FA0-5EB8-9CFE8C93C1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>
                <a:hlinkClick r:id="rId3"/>
              </a:rPr>
              <a:t>Guidance for Districts Employing Designated Teachers without a Local Designation System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C26254-4971-E212-CF39-E416DF8F82E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>
                <a:hlinkClick r:id="rId4"/>
              </a:rPr>
              <a:t>TIA Spending Guidance for District Business Offices</a:t>
            </a:r>
            <a:endParaRPr lang="en-US"/>
          </a:p>
          <a:p>
            <a:endParaRPr lang="en-US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F8DF1E40-6AFC-DD75-D685-5EBBEEE888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5281" y="1338263"/>
            <a:ext cx="3467100" cy="4181474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6682DF6-0CDC-1D74-5BC8-89F847D6A92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>
                <a:hlinkClick r:id="rId6"/>
              </a:rPr>
              <a:t>Teacher Communication</a:t>
            </a:r>
            <a:r>
              <a:rPr lang="en-US" dirty="0"/>
              <a:t> and </a:t>
            </a:r>
            <a:r>
              <a:rPr lang="en-US" dirty="0">
                <a:hlinkClick r:id="rId7"/>
              </a:rPr>
              <a:t>Celebration Resources</a:t>
            </a:r>
            <a:endParaRPr lang="en-US" dirty="0"/>
          </a:p>
        </p:txBody>
      </p:sp>
      <p:pic>
        <p:nvPicPr>
          <p:cNvPr id="9" name="Picture Placeholder 22">
            <a:extLst>
              <a:ext uri="{FF2B5EF4-FFF2-40B4-BE49-F238E27FC236}">
                <a16:creationId xmlns:a16="http://schemas.microsoft.com/office/drawing/2014/main" id="{8B06AEFD-D5B4-6A42-3F9E-82A6681676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0050" y="1338263"/>
            <a:ext cx="3467100" cy="4181475"/>
          </a:xfrm>
        </p:spPr>
      </p:pic>
      <p:pic>
        <p:nvPicPr>
          <p:cNvPr id="10" name="Picture Placeholder 24">
            <a:extLst>
              <a:ext uri="{FF2B5EF4-FFF2-40B4-BE49-F238E27FC236}">
                <a16:creationId xmlns:a16="http://schemas.microsoft.com/office/drawing/2014/main" id="{72CD8D1D-9FF6-B48F-370F-83C0397B0D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8963" y="1338263"/>
            <a:ext cx="3467100" cy="4181475"/>
          </a:xfrm>
        </p:spPr>
      </p:pic>
    </p:spTree>
    <p:extLst>
      <p:ext uri="{BB962C8B-B14F-4D97-AF65-F5344CB8AC3E}">
        <p14:creationId xmlns:p14="http://schemas.microsoft.com/office/powerpoint/2010/main" val="25036690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0316038-61C6-FBA1-8F77-61C4DC669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w Fee Detail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64D3CE8-30B7-02F8-A8F4-0EE7EC4F5671}"/>
              </a:ext>
            </a:extLst>
          </p:cNvPr>
          <p:cNvSpPr txBox="1"/>
          <p:nvPr/>
        </p:nvSpPr>
        <p:spPr>
          <a:xfrm>
            <a:off x="613997" y="3247014"/>
            <a:ext cx="81847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Click the Total Fees Value to view detai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Most districts without a local designation system will have $0 in fee reimbursemen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DAEE58F-AA9C-0575-AE9F-203B7960D8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11" y="1354902"/>
            <a:ext cx="6697021" cy="18247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9EB826B-B3E5-0515-70C4-A535FB6434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569" y="4582068"/>
            <a:ext cx="5967306" cy="188495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82516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B129D-F782-4A01-93EA-CD7B886CC0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417" y="4665304"/>
            <a:ext cx="10022719" cy="1055053"/>
          </a:xfrm>
        </p:spPr>
        <p:txBody>
          <a:bodyPr>
            <a:normAutofit/>
          </a:bodyPr>
          <a:lstStyle/>
          <a:p>
            <a:r>
              <a:rPr lang="en-US"/>
              <a:t>Submitting Disputes</a:t>
            </a:r>
          </a:p>
        </p:txBody>
      </p:sp>
    </p:spTree>
    <p:extLst>
      <p:ext uri="{BB962C8B-B14F-4D97-AF65-F5344CB8AC3E}">
        <p14:creationId xmlns:p14="http://schemas.microsoft.com/office/powerpoint/2010/main" val="374963462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A51DF-5624-19DB-93D3-601B19DF1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are Disput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B66B45-F56A-4ECD-914B-53FE1AE3DC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>
              <a:lnSpc>
                <a:spcPct val="150000"/>
              </a:lnSpc>
            </a:pPr>
            <a:r>
              <a:rPr lang="en-US" sz="2800"/>
              <a:t>A dispute is a </a:t>
            </a:r>
            <a:r>
              <a:rPr lang="en-US" sz="2800" b="1"/>
              <a:t>request for manual error resolution </a:t>
            </a:r>
            <a:r>
              <a:rPr lang="en-US" sz="2800"/>
              <a:t>of inaccurate, </a:t>
            </a:r>
            <a:r>
              <a:rPr lang="en-US" sz="2800" b="1"/>
              <a:t>teacher-level data.</a:t>
            </a:r>
          </a:p>
          <a:p>
            <a:pPr>
              <a:lnSpc>
                <a:spcPct val="120000"/>
              </a:lnSpc>
            </a:pPr>
            <a:r>
              <a:rPr lang="en-US" sz="2800"/>
              <a:t>Errors or inaccuracies in Winter Class Roster reporting will impact teacher eligibility, designations, and allotment values.</a:t>
            </a:r>
          </a:p>
          <a:p>
            <a:pPr>
              <a:lnSpc>
                <a:spcPct val="150000"/>
              </a:lnSpc>
            </a:pPr>
            <a:r>
              <a:rPr lang="en-US" sz="2800"/>
              <a:t>Disputes are resolved in SCOMS with no impact on TSDS data.</a:t>
            </a:r>
          </a:p>
          <a:p>
            <a:pPr>
              <a:lnSpc>
                <a:spcPct val="150000"/>
              </a:lnSpc>
            </a:pPr>
            <a:r>
              <a:rPr lang="en-US" sz="2800" b="1"/>
              <a:t>Disputes must be entered by May 3</a:t>
            </a:r>
            <a:r>
              <a:rPr lang="en-US" sz="2800"/>
              <a:t>. TEA will resolve all disputes by May 10</a:t>
            </a:r>
          </a:p>
          <a:p>
            <a:pPr>
              <a:lnSpc>
                <a:spcPct val="110000"/>
              </a:lnSpc>
            </a:pPr>
            <a:r>
              <a:rPr lang="en-US" sz="2800"/>
              <a:t>The district may be asked to provide supporting documentation for the dispute, such as HR records, payroll data, master schedule) </a:t>
            </a:r>
          </a:p>
          <a:p>
            <a:pPr>
              <a:lnSpc>
                <a:spcPct val="150000"/>
              </a:lnSpc>
            </a:pPr>
            <a:r>
              <a:rPr lang="en-US" sz="2800"/>
              <a:t>For fee disputes, email </a:t>
            </a:r>
            <a:r>
              <a:rPr lang="en-US" sz="2800">
                <a:hlinkClick r:id="rId2"/>
              </a:rPr>
              <a:t>tia@tea.Texas.gov</a:t>
            </a:r>
            <a:r>
              <a:rPr lang="en-US" sz="2800"/>
              <a:t> 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643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B2D9E-BEBB-CA8A-D995-3362FC50D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en to Submit a Dispu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4397D9-034A-0441-4CC0-56CE6B52E5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393" y="1426221"/>
            <a:ext cx="11373507" cy="4449032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/>
              <a:t>Districts may submit a dispute in SCOMS if:</a:t>
            </a:r>
          </a:p>
          <a:p>
            <a:pPr marL="685800" lvl="1" indent="-457200">
              <a:buFont typeface="+mj-lt"/>
              <a:buAutoNum type="arabicPeriod"/>
            </a:pPr>
            <a:r>
              <a:rPr lang="en-US"/>
              <a:t>Winter Class Roster data does not accurately reflect a teacher’s campus of employment  </a:t>
            </a:r>
          </a:p>
          <a:p>
            <a:pPr lvl="2"/>
            <a:r>
              <a:rPr lang="en-US"/>
              <a:t>Centrally assigned teachers</a:t>
            </a:r>
          </a:p>
          <a:p>
            <a:pPr lvl="2"/>
            <a:r>
              <a:rPr lang="en-US"/>
              <a:t>Teachers with students commuting from several campuses to the teacher’s campus</a:t>
            </a:r>
          </a:p>
          <a:p>
            <a:pPr marL="685800" lvl="2" indent="0">
              <a:buNone/>
            </a:pPr>
            <a:endParaRPr lang="en-US"/>
          </a:p>
          <a:p>
            <a:pPr marL="685800" lvl="1" indent="-457200">
              <a:buFont typeface="+mj-lt"/>
              <a:buAutoNum type="arabicPeriod"/>
            </a:pPr>
            <a:r>
              <a:rPr lang="en-US"/>
              <a:t>An </a:t>
            </a:r>
            <a:r>
              <a:rPr lang="en-US" b="1"/>
              <a:t>eligible teacher </a:t>
            </a:r>
            <a:r>
              <a:rPr lang="en-US"/>
              <a:t>did not generate an allotment or earn a designation because:</a:t>
            </a:r>
          </a:p>
          <a:p>
            <a:pPr marL="914400" lvl="2"/>
            <a:r>
              <a:rPr lang="en-US"/>
              <a:t>The teacher was mistakenly not reported in Class Roster Winter Submission or reported without a TIA Designation Code</a:t>
            </a:r>
          </a:p>
          <a:p>
            <a:pPr marL="914400" lvl="2"/>
            <a:r>
              <a:rPr lang="en-US"/>
              <a:t>The year of service was not reported as “Y”</a:t>
            </a:r>
          </a:p>
          <a:p>
            <a:pPr marL="914400" lvl="2"/>
            <a:r>
              <a:rPr lang="en-US"/>
              <a:t>The teacher was reported with a Role ID other than 087</a:t>
            </a:r>
          </a:p>
          <a:p>
            <a:pPr marL="628650" lvl="2" indent="0">
              <a:buNone/>
            </a:pPr>
            <a:endParaRPr lang="en-US"/>
          </a:p>
          <a:p>
            <a:pPr marL="628650" lvl="1" indent="-457200">
              <a:buFont typeface="+mj-lt"/>
              <a:buAutoNum type="arabicPeriod"/>
            </a:pPr>
            <a:r>
              <a:rPr lang="en-US"/>
              <a:t>A teacher generated an allotment that did not meet the year of service in a teacher role</a:t>
            </a: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6307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81614-73CA-6E10-7897-7DFC906C4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putes Page and Managing Dispu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C58D3B-FE14-BE3F-7352-BE41B41348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AutoNum type="arabicPeriod"/>
            </a:pPr>
            <a:r>
              <a:rPr lang="en-US"/>
              <a:t>Go to Payout</a:t>
            </a:r>
            <a:r>
              <a:rPr lang="en-US">
                <a:sym typeface="Wingdings" panose="05000000000000000000" pitchFamily="2" charset="2"/>
              </a:rPr>
              <a:t> Total by School Year screen</a:t>
            </a:r>
          </a:p>
          <a:p>
            <a:pPr marL="514350" indent="-514350">
              <a:buAutoNum type="arabicPeriod"/>
            </a:pPr>
            <a:r>
              <a:rPr lang="en-US">
                <a:sym typeface="Wingdings" panose="05000000000000000000" pitchFamily="2" charset="2"/>
              </a:rPr>
              <a:t>Click “Dispute” to view, add, edit, or delete disputes</a:t>
            </a:r>
          </a:p>
          <a:p>
            <a:pPr marL="0" indent="0">
              <a:buNone/>
            </a:pPr>
            <a:endParaRPr lang="en-US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/>
          </a:p>
        </p:txBody>
      </p:sp>
      <p:pic>
        <p:nvPicPr>
          <p:cNvPr id="5" name="Picture 4" descr="payout screenshot ">
            <a:extLst>
              <a:ext uri="{FF2B5EF4-FFF2-40B4-BE49-F238E27FC236}">
                <a16:creationId xmlns:a16="http://schemas.microsoft.com/office/drawing/2014/main" id="{2032959B-B923-B81B-67DB-1F5824B2234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455" y="3032137"/>
            <a:ext cx="8081402" cy="2201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4983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C6B3065-D318-8CBA-80AB-E72F5FCB2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spute Categori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310D56C-8427-1D9E-52E5-725F391029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/>
              <a:t>Teacher missing from allotment report</a:t>
            </a:r>
          </a:p>
          <a:p>
            <a:r>
              <a:rPr lang="en-US" sz="2400"/>
              <a:t>Not employed in a teaching role (087)</a:t>
            </a:r>
          </a:p>
          <a:p>
            <a:r>
              <a:rPr lang="en-US" sz="2400"/>
              <a:t>Change year of service indicator (</a:t>
            </a:r>
            <a:r>
              <a:rPr lang="en-US" sz="2400" err="1"/>
              <a:t>Yes</a:t>
            </a:r>
            <a:r>
              <a:rPr lang="en-US" sz="2400" err="1">
                <a:sym typeface="Wingdings" panose="05000000000000000000" pitchFamily="2" charset="2"/>
              </a:rPr>
              <a:t>No</a:t>
            </a:r>
            <a:r>
              <a:rPr lang="en-US" sz="2400">
                <a:sym typeface="Wingdings" panose="05000000000000000000" pitchFamily="2" charset="2"/>
              </a:rPr>
              <a:t> or No Yes)</a:t>
            </a:r>
            <a:endParaRPr lang="en-US" sz="2400">
              <a:cs typeface="Calibri"/>
            </a:endParaRPr>
          </a:p>
          <a:p>
            <a:r>
              <a:rPr lang="en-US" sz="2400">
                <a:sym typeface="Wingdings" panose="05000000000000000000" pitchFamily="2" charset="2"/>
              </a:rPr>
              <a:t>Incorrect CDCN(s)</a:t>
            </a:r>
          </a:p>
          <a:p>
            <a:r>
              <a:rPr lang="en-US" sz="2400">
                <a:sym typeface="Wingdings" panose="05000000000000000000" pitchFamily="2" charset="2"/>
              </a:rPr>
              <a:t>Other</a:t>
            </a:r>
            <a:endParaRPr lang="en-US" sz="2400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dispute screenshot">
            <a:extLst>
              <a:ext uri="{FF2B5EF4-FFF2-40B4-BE49-F238E27FC236}">
                <a16:creationId xmlns:a16="http://schemas.microsoft.com/office/drawing/2014/main" id="{39DC2501-E2FB-1FC3-764E-D14F377DDC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382" y="4153800"/>
            <a:ext cx="9040148" cy="1927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3469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C6B3065-D318-8CBA-80AB-E72F5FCB2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ng a Disput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2265851-27AF-FFEA-40E3-0911E9A2E269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en-US" sz="2400"/>
              <a:t>Click “Add Dispute Detail.”</a:t>
            </a:r>
          </a:p>
          <a:p>
            <a:pPr marL="457200" indent="-457200">
              <a:buAutoNum type="arabicPeriod"/>
            </a:pPr>
            <a:r>
              <a:rPr lang="en-US" sz="2400"/>
              <a:t>Select a Dispute Category.</a:t>
            </a:r>
          </a:p>
          <a:p>
            <a:pPr marL="457200" indent="-457200">
              <a:buAutoNum type="arabicPeriod"/>
            </a:pPr>
            <a:r>
              <a:rPr lang="en-US" sz="2400"/>
              <a:t>Enter all requested details and click “Add.”</a:t>
            </a:r>
          </a:p>
          <a:p>
            <a:pPr marL="457200" indent="-457200">
              <a:buAutoNum type="arabicPeriod"/>
            </a:pPr>
            <a:r>
              <a:rPr lang="en-US" sz="2400"/>
              <a:t>Review the dispute on the main Disputes page.</a:t>
            </a:r>
          </a:p>
          <a:p>
            <a:pPr marL="457200" indent="-457200">
              <a:buAutoNum type="arabicPeriod"/>
            </a:pPr>
            <a:r>
              <a:rPr lang="en-US" sz="2400"/>
              <a:t>Edit or delete the dispute if needed. </a:t>
            </a:r>
          </a:p>
          <a:p>
            <a:endParaRPr lang="en-US" b="1"/>
          </a:p>
        </p:txBody>
      </p:sp>
      <p:pic>
        <p:nvPicPr>
          <p:cNvPr id="4" name="Picture 3" descr="Screenshot image of &quot;Add Teacher Dispute Detail&quot; Page">
            <a:extLst>
              <a:ext uri="{FF2B5EF4-FFF2-40B4-BE49-F238E27FC236}">
                <a16:creationId xmlns:a16="http://schemas.microsoft.com/office/drawing/2014/main" id="{4FC4B7EA-81FA-702C-28E7-450B5E3767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2763" y="1750514"/>
            <a:ext cx="6196642" cy="335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25886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60E02-161E-2B7F-98CC-1BE1FB0BA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Dispute</a:t>
            </a:r>
          </a:p>
        </p:txBody>
      </p:sp>
      <p:pic>
        <p:nvPicPr>
          <p:cNvPr id="6" name="Picture 5" descr="sample dispute screen">
            <a:extLst>
              <a:ext uri="{FF2B5EF4-FFF2-40B4-BE49-F238E27FC236}">
                <a16:creationId xmlns:a16="http://schemas.microsoft.com/office/drawing/2014/main" id="{03B8D09F-5E81-435C-8872-4998D9E141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" b="719"/>
          <a:stretch>
            <a:fillRect/>
          </a:stretch>
        </p:blipFill>
        <p:spPr bwMode="auto">
          <a:xfrm>
            <a:off x="871219" y="1791017"/>
            <a:ext cx="8911299" cy="373348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271372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314FE99-2163-ABD3-3496-0A42AA3CA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quired Information for a Disput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3E10AA-F30C-557D-7846-7751715487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/>
              <a:t>Reason/Category for the dispute will determine what information is required</a:t>
            </a:r>
          </a:p>
          <a:p>
            <a:r>
              <a:rPr lang="en-US" sz="2400"/>
              <a:t>Teacher Unique ID, 10-digit number for TSDS reporting</a:t>
            </a:r>
          </a:p>
          <a:p>
            <a:r>
              <a:rPr lang="en-US" sz="2400"/>
              <a:t>DOB, if teacher is missing from the allotment report</a:t>
            </a:r>
          </a:p>
          <a:p>
            <a:r>
              <a:rPr lang="en-US" sz="2400"/>
              <a:t>Campus CDCN(s)</a:t>
            </a:r>
          </a:p>
          <a:p>
            <a:r>
              <a:rPr lang="en-US" sz="2400"/>
              <a:t>Role ID </a:t>
            </a:r>
          </a:p>
          <a:p>
            <a:r>
              <a:rPr lang="en-US" sz="2400"/>
              <a:t>Creditable Year of Service Y/N</a:t>
            </a:r>
          </a:p>
          <a:p>
            <a:r>
              <a:rPr lang="en-US" sz="2400"/>
              <a:t>Notes may be required depending on the selected reason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36409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8AF033-6CBD-1037-34EF-7486CF1C9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 After a Dispu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B3E6A1-9A7C-BA47-D885-B7010B2806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  <a:tabLst>
                <a:tab pos="457200" algn="l"/>
              </a:tabLst>
            </a:pPr>
            <a:r>
              <a:rPr lang="en-US" sz="2400">
                <a:effectLst/>
                <a:latin typeface="Calibri"/>
                <a:ea typeface="Calibri"/>
                <a:cs typeface="Times New Roman"/>
              </a:rPr>
              <a:t>Export dispute data for next phase of verification.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D6CB9"/>
              </a:buClr>
              <a:buFont typeface="Symbol" panose="05050102010706020507" pitchFamily="18" charset="2"/>
              <a:buChar char=""/>
              <a:tabLst>
                <a:tab pos="685800" algn="l"/>
              </a:tabLst>
            </a:pPr>
            <a:r>
              <a:rPr lang="en-US" sz="2000">
                <a:effectLst/>
                <a:latin typeface="Calibri"/>
                <a:ea typeface="Calibri"/>
                <a:cs typeface="Times New Roman"/>
              </a:rPr>
              <a:t>TEA will process disputes between May 3 and May 10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D6CB9"/>
              </a:buClr>
              <a:buFont typeface="Symbol" panose="05050102010706020507" pitchFamily="18" charset="2"/>
              <a:buChar char=""/>
              <a:tabLst>
                <a:tab pos="685800" algn="l"/>
              </a:tabLst>
            </a:pPr>
            <a:r>
              <a:rPr lang="en-US" sz="2000">
                <a:effectLst/>
                <a:latin typeface="Calibri"/>
                <a:ea typeface="Calibri"/>
                <a:cs typeface="Times New Roman"/>
              </a:rPr>
              <a:t>Designation outcomes and allotment values will not change unless a dispute was submitted.</a:t>
            </a:r>
            <a:r>
              <a:rPr lang="en-US" sz="2000">
                <a:latin typeface="Calibri"/>
                <a:ea typeface="Calibri"/>
                <a:cs typeface="Times New Roman"/>
              </a:rPr>
              <a:t> </a:t>
            </a:r>
          </a:p>
          <a:p>
            <a:pPr marL="457200" lvl="1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D6CB9"/>
              </a:buClr>
              <a:buNone/>
              <a:tabLst>
                <a:tab pos="685800" algn="l"/>
              </a:tabLst>
            </a:pPr>
            <a:endParaRPr lang="en-US" sz="20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0D6CB9"/>
              </a:buClr>
              <a:buFont typeface="Symbol" panose="05050102010706020507" pitchFamily="18" charset="2"/>
              <a:buChar char=""/>
              <a:tabLst>
                <a:tab pos="685800" algn="l"/>
              </a:tabLst>
            </a:pPr>
            <a:endParaRPr lang="en-US" sz="18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Cambria" panose="02040503050406030204"/>
              <a:buAutoNum type="arabicPeriod"/>
              <a:tabLst>
                <a:tab pos="685800" algn="l"/>
              </a:tabLst>
            </a:pPr>
            <a:r>
              <a:rPr lang="en-US" sz="2400">
                <a:latin typeface="Calibri"/>
                <a:ea typeface="Calibri"/>
                <a:cs typeface="Times New Roman"/>
              </a:rPr>
              <a:t> </a:t>
            </a:r>
            <a:r>
              <a:rPr lang="en-US" sz="2400">
                <a:effectLst/>
                <a:latin typeface="Calibri"/>
                <a:ea typeface="Calibri"/>
                <a:cs typeface="Times New Roman"/>
              </a:rPr>
              <a:t>By May 13, districts must repeat the allotment verification process after the dispute is resolved before confirming the allotment.</a:t>
            </a:r>
            <a:r>
              <a:rPr lang="en-US" sz="2400">
                <a:latin typeface="Calibri"/>
                <a:ea typeface="Calibri"/>
                <a:cs typeface="Times New Roman"/>
              </a:rPr>
              <a:t> </a:t>
            </a:r>
            <a:r>
              <a:rPr lang="en-US" sz="2400" b="1">
                <a:latin typeface="Calibri"/>
                <a:ea typeface="Calibri"/>
                <a:cs typeface="Times New Roman"/>
              </a:rPr>
              <a:t> </a:t>
            </a:r>
            <a:endParaRPr lang="en-US" sz="24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5824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6CF9F3-A330-C0C6-6270-65255674D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ssion Objectiv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78497A-4210-683E-43EE-69ACD380B2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/>
              <a:t>District administrators will be able to:</a:t>
            </a:r>
          </a:p>
          <a:p>
            <a:pPr marL="0" indent="0">
              <a:buNone/>
            </a:pPr>
            <a:endParaRPr lang="en-US"/>
          </a:p>
          <a:p>
            <a:pPr marL="485775" indent="-514350">
              <a:buFont typeface="+mj-lt"/>
              <a:buAutoNum type="arabicPeriod"/>
            </a:pPr>
            <a:r>
              <a:rPr lang="en-US"/>
              <a:t>Access and view Teacher Incentive Allotment data in SCOMS</a:t>
            </a:r>
          </a:p>
          <a:p>
            <a:pPr marL="485775" indent="-514350">
              <a:buFont typeface="+mj-lt"/>
              <a:buAutoNum type="arabicPeriod"/>
            </a:pPr>
            <a:r>
              <a:rPr lang="en-US"/>
              <a:t>Verify, dispute, and confirm allotments in SCOMS using district records</a:t>
            </a:r>
          </a:p>
          <a:p>
            <a:pPr marL="485775" indent="-514350">
              <a:buFont typeface="+mj-lt"/>
              <a:buAutoNum type="arabicPeriod"/>
            </a:pPr>
            <a:r>
              <a:rPr lang="en-US"/>
              <a:t>Understand next steps for communicating with teachers and spending the allotment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80526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924F469-EFD0-1C72-E6F2-89AF3690A2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Disputes Page</a:t>
            </a:r>
          </a:p>
        </p:txBody>
      </p:sp>
      <p:pic>
        <p:nvPicPr>
          <p:cNvPr id="2" name="Content Placeholder 1">
            <a:extLst>
              <a:ext uri="{FF2B5EF4-FFF2-40B4-BE49-F238E27FC236}">
                <a16:creationId xmlns:a16="http://schemas.microsoft.com/office/drawing/2014/main" id="{DEC9774C-C12F-B73F-7C52-28BF178E9B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2599"/>
          <a:stretch/>
        </p:blipFill>
        <p:spPr>
          <a:xfrm>
            <a:off x="238706" y="1437215"/>
            <a:ext cx="11533537" cy="3934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09611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B129D-F782-4A01-93EA-CD7B886CC0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1417" y="4665304"/>
            <a:ext cx="10022719" cy="1055053"/>
          </a:xfrm>
        </p:spPr>
        <p:txBody>
          <a:bodyPr>
            <a:normAutofit/>
          </a:bodyPr>
          <a:lstStyle/>
          <a:p>
            <a:r>
              <a:rPr lang="en-US"/>
              <a:t>Confirming the Allotment</a:t>
            </a:r>
          </a:p>
        </p:txBody>
      </p:sp>
    </p:spTree>
    <p:extLst>
      <p:ext uri="{BB962C8B-B14F-4D97-AF65-F5344CB8AC3E}">
        <p14:creationId xmlns:p14="http://schemas.microsoft.com/office/powerpoint/2010/main" val="14576711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55C3C-0B91-3ED1-E7A2-25FFBDC03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or to Confi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B869A5-4825-3B95-2134-8A5B827E2F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200"/>
              <a:t>Prior to confirmation, verify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900"/>
              <a:t>All eligible teachers submitted for a new designation are present on the designations page and in “Approved” status (Cohort A-E participating LEAs)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900"/>
              <a:t>All eligible teachers generated an allotment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900"/>
              <a:t>All eligible teachers were reported at the correct campu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900"/>
              <a:t>Fees are accurat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sz="1900"/>
              <a:t>Disputes were resolved, if applicable</a:t>
            </a:r>
          </a:p>
          <a:p>
            <a:pPr marL="228600" lvl="1" indent="0">
              <a:buNone/>
            </a:pPr>
            <a:endParaRPr lang="en-US" sz="1900"/>
          </a:p>
          <a:p>
            <a:pPr marL="514350" indent="-514350">
              <a:buFont typeface="+mj-lt"/>
              <a:buAutoNum type="arabicPeriod"/>
            </a:pPr>
            <a:r>
              <a:rPr lang="en-US" sz="2200"/>
              <a:t>Review attestations with relevant departments and maintain a </a:t>
            </a:r>
            <a:r>
              <a:rPr lang="en-US" sz="2200" b="1"/>
              <a:t>local record </a:t>
            </a:r>
            <a:r>
              <a:rPr lang="en-US" sz="2200"/>
              <a:t>of superintendent sign-off  </a:t>
            </a:r>
            <a:r>
              <a:rPr lang="en-US" sz="2200">
                <a:solidFill>
                  <a:srgbClr val="D0380E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IATexas.org/attestations</a:t>
            </a:r>
            <a:r>
              <a:rPr lang="en-US" sz="2200"/>
              <a:t> </a:t>
            </a:r>
          </a:p>
          <a:p>
            <a:pPr marL="0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03190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295C96-A97B-ECF9-D020-DE4D004C2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firm the Allot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98D0C0-AFE9-1343-CAAF-98163C8DBA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/>
              <a:t>Click Confirm and review disclaimer.</a:t>
            </a:r>
          </a:p>
          <a:p>
            <a:pPr marL="457200" indent="-457200">
              <a:buFont typeface="+mj-lt"/>
              <a:buAutoNum type="arabicPeriod"/>
            </a:pPr>
            <a:r>
              <a:rPr lang="en-US"/>
              <a:t>Click “Confirm” a second time. This serves as the district signature. Do not submit signed attestations to TEA.</a:t>
            </a:r>
          </a:p>
          <a:p>
            <a:endParaRPr lang="en-US"/>
          </a:p>
        </p:txBody>
      </p:sp>
      <p:pic>
        <p:nvPicPr>
          <p:cNvPr id="4" name="Picture 3" descr="confirm screenshot">
            <a:extLst>
              <a:ext uri="{FF2B5EF4-FFF2-40B4-BE49-F238E27FC236}">
                <a16:creationId xmlns:a16="http://schemas.microsoft.com/office/drawing/2014/main" id="{57BC89D8-798B-6BCC-451A-96706AC229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690" y="3223679"/>
            <a:ext cx="7345281" cy="2208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80482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CF013C-9291-885B-B382-B150A402762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District Next Step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CAD9A69-CE62-9D25-0EBC-B3F684C9796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Allotment Timelines and Teacher Communication</a:t>
            </a:r>
          </a:p>
        </p:txBody>
      </p:sp>
    </p:spTree>
    <p:extLst>
      <p:ext uri="{BB962C8B-B14F-4D97-AF65-F5344CB8AC3E}">
        <p14:creationId xmlns:p14="http://schemas.microsoft.com/office/powerpoint/2010/main" val="262324736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5E3A4F-03F0-783B-37BA-E583F14B55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 Overview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E34D67-3E34-57C1-AFE1-4A406FA30C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Verify Allotment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55141E5-60C4-E9BC-1799-BE02145B5D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Notify District Business Offic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35D5B0-ECB6-F6A2-7A6B-D7B7736F69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Communicate with Teacher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5B15F8C-ACFD-F696-7E2D-33B4B3936B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Ensure Funds are Spent by 8/31/24</a:t>
            </a:r>
          </a:p>
        </p:txBody>
      </p:sp>
      <p:pic>
        <p:nvPicPr>
          <p:cNvPr id="20" name="Picture Placeholder 19" descr="Close up of checklist">
            <a:extLst>
              <a:ext uri="{FF2B5EF4-FFF2-40B4-BE49-F238E27FC236}">
                <a16:creationId xmlns:a16="http://schemas.microsoft.com/office/drawing/2014/main" id="{FEA5E378-AEF7-8AAF-B65A-4994D86238C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22" name="Picture Placeholder 21" descr="Business meeting behind a glass wall">
            <a:extLst>
              <a:ext uri="{FF2B5EF4-FFF2-40B4-BE49-F238E27FC236}">
                <a16:creationId xmlns:a16="http://schemas.microsoft.com/office/drawing/2014/main" id="{2E51ABC2-72A5-2C28-2F8A-64CAD588080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37" name="Picture Placeholder 25" descr="Man and woman conversing in library">
            <a:extLst>
              <a:ext uri="{FF2B5EF4-FFF2-40B4-BE49-F238E27FC236}">
                <a16:creationId xmlns:a16="http://schemas.microsoft.com/office/drawing/2014/main" id="{16352EA5-8AFA-C555-A20A-28BA90E4694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21425" y="3771900"/>
            <a:ext cx="2493963" cy="16764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525BEAB-553B-62FA-12C6-4C72214D55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04429" y="3742249"/>
            <a:ext cx="2519362" cy="1706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44477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63D1FD-20BB-2F33-2807-04289F4E4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 of Finances (SOF) Re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39A7F1-0208-997A-8B9F-34D28A3DC1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239" y="1538189"/>
            <a:ext cx="11373507" cy="4449032"/>
          </a:xfrm>
        </p:spPr>
        <p:txBody>
          <a:bodyPr/>
          <a:lstStyle/>
          <a:p>
            <a:r>
              <a:rPr lang="en-US" dirty="0">
                <a:latin typeface="Calibri"/>
                <a:ea typeface="Open Sans"/>
                <a:cs typeface="Calibri"/>
                <a:sym typeface="Wingdings" panose="05000000000000000000" pitchFamily="2" charset="2"/>
              </a:rPr>
              <a:t>After the September Settle-up process, the final SOF report will match the 2023-24 Payout by School Year page</a:t>
            </a:r>
            <a:endParaRPr lang="en-US" dirty="0">
              <a:latin typeface="Calibri"/>
              <a:ea typeface="Open Sans"/>
              <a:cs typeface="Calibri"/>
            </a:endParaRPr>
          </a:p>
          <a:p>
            <a:endParaRPr lang="en-US" dirty="0">
              <a:latin typeface="Calibri"/>
              <a:ea typeface="Open Sans"/>
              <a:cs typeface="Calibri"/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latin typeface="Calibri"/>
              <a:ea typeface="Open Sans"/>
              <a:cs typeface="Calibri"/>
              <a:sym typeface="Wingdings" panose="05000000000000000000" pitchFamily="2" charset="2"/>
            </a:endParaRPr>
          </a:p>
          <a:p>
            <a:endParaRPr lang="en-US" dirty="0">
              <a:latin typeface="Calibri"/>
              <a:ea typeface="Open Sans"/>
              <a:cs typeface="Calibri"/>
              <a:sym typeface="Wingdings" panose="05000000000000000000" pitchFamily="2" charset="2"/>
            </a:endParaRPr>
          </a:p>
          <a:p>
            <a:endParaRPr lang="en-US" dirty="0">
              <a:latin typeface="Calibri"/>
              <a:ea typeface="Open Sans"/>
              <a:cs typeface="Calibri"/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7" name="Picture 6" descr="SOF image">
            <a:extLst>
              <a:ext uri="{FF2B5EF4-FFF2-40B4-BE49-F238E27FC236}">
                <a16:creationId xmlns:a16="http://schemas.microsoft.com/office/drawing/2014/main" id="{46E00C23-0506-5128-6700-05D923BC62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503" y="3474896"/>
            <a:ext cx="9544050" cy="2095500"/>
          </a:xfrm>
          <a:prstGeom prst="rect">
            <a:avLst/>
          </a:prstGeom>
        </p:spPr>
      </p:pic>
      <p:pic>
        <p:nvPicPr>
          <p:cNvPr id="9" name="Picture 8" descr="SOF line 31 image">
            <a:extLst>
              <a:ext uri="{FF2B5EF4-FFF2-40B4-BE49-F238E27FC236}">
                <a16:creationId xmlns:a16="http://schemas.microsoft.com/office/drawing/2014/main" id="{FFC5B6B5-5824-5D24-0229-902466E6E7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121" y="2859230"/>
            <a:ext cx="7334250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104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59DDDA-7342-1F23-6B8D-0D73A474F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ending Plan FAQ	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55A0BD-ED06-C59D-0380-ADE9C0C63C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Must our TIA spending plan be approved by the school board?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82EFFD-9171-8AD7-29CE-BAA2F02574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75883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CED5026-7733-8485-CCE6-41735ACE7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acher Communica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8FAD9F6-D689-9CAF-F5E8-C1CC0F47B2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393" y="1538189"/>
            <a:ext cx="11373507" cy="483597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/>
              <a:t>Teachers should know:</a:t>
            </a:r>
          </a:p>
          <a:p>
            <a:pPr lvl="1"/>
            <a:r>
              <a:rPr lang="en-US"/>
              <a:t>If they met eligibility criteria for designation and/or allotment 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/>
              <a:t>Employed in a teaching role</a:t>
            </a:r>
          </a:p>
          <a:p>
            <a:pPr lvl="2">
              <a:buFont typeface="Wingdings" panose="05000000000000000000" pitchFamily="2" charset="2"/>
              <a:buChar char="ü"/>
            </a:pPr>
            <a:r>
              <a:rPr lang="en-US"/>
              <a:t>Met year of service requirement*</a:t>
            </a:r>
          </a:p>
          <a:p>
            <a:pPr lvl="1"/>
            <a:r>
              <a:rPr lang="en-US"/>
              <a:t>How much they will generate for the district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 </a:t>
            </a:r>
          </a:p>
          <a:p>
            <a:pPr lvl="1"/>
            <a:r>
              <a:rPr lang="en-US"/>
              <a:t>For new designations, when it will show on their certificate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(by May 22)</a:t>
            </a:r>
          </a:p>
          <a:p>
            <a:pPr lvl="1"/>
            <a:r>
              <a:rPr lang="en-US"/>
              <a:t>The district spending plan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(by May 22)	</a:t>
            </a:r>
          </a:p>
          <a:p>
            <a:pPr lvl="2"/>
            <a:r>
              <a:rPr lang="en-US"/>
              <a:t>Percentage awarded to the teacher, along with estimated deductions</a:t>
            </a:r>
          </a:p>
          <a:p>
            <a:pPr lvl="2"/>
            <a:r>
              <a:rPr lang="en-US"/>
              <a:t>Estimated payout date</a:t>
            </a:r>
          </a:p>
          <a:p>
            <a:pPr lvl="2"/>
            <a:r>
              <a:rPr lang="en-US" i="1"/>
              <a:t>District policy if teachers resign or retire before the payout date</a:t>
            </a:r>
          </a:p>
          <a:p>
            <a:r>
              <a:rPr lang="en-US"/>
              <a:t>Best practice: communicate in writing and post policies on the district website</a:t>
            </a:r>
          </a:p>
          <a:p>
            <a:r>
              <a:rPr lang="en-US"/>
              <a:t>Teacher questions to TEA regarding district spending plans will be referred to the district’s TIA point of contact. </a:t>
            </a:r>
          </a:p>
          <a:p>
            <a:pPr lvl="2"/>
            <a:endParaRPr lang="en-US"/>
          </a:p>
          <a:p>
            <a:pPr marL="0" indent="0">
              <a:buNone/>
            </a:pPr>
            <a:r>
              <a:rPr lang="en-US" sz="1400" i="1"/>
              <a:t>*additional verification may be required at EOY for teachers who work part-time or have taken leave</a:t>
            </a:r>
          </a:p>
        </p:txBody>
      </p:sp>
    </p:spTree>
    <p:extLst>
      <p:ext uri="{BB962C8B-B14F-4D97-AF65-F5344CB8AC3E}">
        <p14:creationId xmlns:p14="http://schemas.microsoft.com/office/powerpoint/2010/main" val="12634264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111F4-D9CE-869D-CA59-8C81FF99A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potlight on Designated Teach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7E46B6-70CC-1CB3-E327-E64691AB68C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Local celebrations and school board recogni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0591A3-E0F9-6F46-B6FE-62A8581C15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/>
              <a:t>Door signs, badges, stickers, and logo requests</a:t>
            </a:r>
          </a:p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4A45C6E-2BA4-1212-3184-17790CBDD49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Congratulatory email from Commissioner Morath</a:t>
            </a:r>
          </a:p>
        </p:txBody>
      </p:sp>
      <p:pic>
        <p:nvPicPr>
          <p:cNvPr id="9" name="Picture 8" descr="door sign ">
            <a:extLst>
              <a:ext uri="{FF2B5EF4-FFF2-40B4-BE49-F238E27FC236}">
                <a16:creationId xmlns:a16="http://schemas.microsoft.com/office/drawing/2014/main" id="{32B23751-6724-4147-1506-FFE03D36DB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4089" y="2556627"/>
            <a:ext cx="3927665" cy="296311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6" descr="A group of people holding signs">
            <a:extLst>
              <a:ext uri="{FF2B5EF4-FFF2-40B4-BE49-F238E27FC236}">
                <a16:creationId xmlns:a16="http://schemas.microsoft.com/office/drawing/2014/main" id="{4CCA9691-A1F3-A906-4459-474F31771A0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18907" r="18907"/>
          <a:stretch>
            <a:fillRect/>
          </a:stretch>
        </p:blipFill>
        <p:spPr>
          <a:xfrm>
            <a:off x="327488" y="1338263"/>
            <a:ext cx="3467100" cy="4181475"/>
          </a:xfrm>
          <a:prstGeom prst="rect">
            <a:avLst/>
          </a:prstGeom>
        </p:spPr>
      </p:pic>
      <p:pic>
        <p:nvPicPr>
          <p:cNvPr id="15" name="Picture 5" descr="Email screenshot&#10;">
            <a:extLst>
              <a:ext uri="{FF2B5EF4-FFF2-40B4-BE49-F238E27FC236}">
                <a16:creationId xmlns:a16="http://schemas.microsoft.com/office/drawing/2014/main" id="{C3D423DB-BC4D-4DD8-A944-3C81CAFB281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>
            <a:alphaModFix/>
          </a:blip>
          <a:srcRect l="7379" r="7379"/>
          <a:stretch>
            <a:fillRect/>
          </a:stretch>
        </p:blipFill>
        <p:spPr>
          <a:xfrm>
            <a:off x="8397875" y="1543050"/>
            <a:ext cx="3467100" cy="4181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36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E42DE-D933-9A75-90F6-2EAB6D7DC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A Basic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94E64A-5063-4243-91FC-AE810EE0B15B}"/>
              </a:ext>
            </a:extLst>
          </p:cNvPr>
          <p:cNvSpPr txBox="1"/>
          <p:nvPr/>
        </p:nvSpPr>
        <p:spPr>
          <a:xfrm>
            <a:off x="295941" y="3040538"/>
            <a:ext cx="187946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3 Designation Levels: Recognized, Exemplary, Mas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EB2F7A-F2E7-07F0-087C-11181327D722}"/>
              </a:ext>
            </a:extLst>
          </p:cNvPr>
          <p:cNvSpPr txBox="1"/>
          <p:nvPr/>
        </p:nvSpPr>
        <p:spPr>
          <a:xfrm>
            <a:off x="2677463" y="2967335"/>
            <a:ext cx="20340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$3K-$32K annually to districts per designated teach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01BC23-1B27-D72B-1A63-BCAF9599C179}"/>
              </a:ext>
            </a:extLst>
          </p:cNvPr>
          <p:cNvSpPr txBox="1"/>
          <p:nvPr/>
        </p:nvSpPr>
        <p:spPr>
          <a:xfrm>
            <a:off x="5213554" y="3040538"/>
            <a:ext cx="18794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Greater funding at high-needs and/or rural campuses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E394C5-F0AF-24A7-49EA-5EE1C1291D90}"/>
              </a:ext>
            </a:extLst>
          </p:cNvPr>
          <p:cNvSpPr txBox="1"/>
          <p:nvPr/>
        </p:nvSpPr>
        <p:spPr>
          <a:xfrm>
            <a:off x="7595076" y="3040538"/>
            <a:ext cx="18794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90% of funds go to teacher compensation on designated teacher’s campus​</a:t>
            </a: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AF8E7B3-694C-782B-25B9-C892960688BF}"/>
              </a:ext>
            </a:extLst>
          </p:cNvPr>
          <p:cNvSpPr txBox="1"/>
          <p:nvPr/>
        </p:nvSpPr>
        <p:spPr>
          <a:xfrm>
            <a:off x="9976598" y="3040538"/>
            <a:ext cx="167079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5- year designation validity regardless of placement</a:t>
            </a:r>
            <a:endParaRPr lang="en-US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F71C3F0D-5407-C459-D69E-F16ABD5C14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4634" y="1840209"/>
            <a:ext cx="1100348" cy="1100348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FD154F0-42C2-CCFA-BC29-2F460DB970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7663" y="1840209"/>
            <a:ext cx="1076020" cy="1076020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39051EFC-197C-D0EE-879A-451EE7B868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11833" y="1840209"/>
            <a:ext cx="1200329" cy="1200329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524A6DB7-AA54-2CDE-2095-A0AE06ECA7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56470" y="1767006"/>
            <a:ext cx="1076020" cy="107602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4FB4398-9D5F-2C5C-2B0B-13823F59C4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229517" y="1963695"/>
            <a:ext cx="1832226" cy="914400"/>
            <a:chOff x="5161603" y="1963695"/>
            <a:chExt cx="1832226" cy="914400"/>
          </a:xfrm>
        </p:grpSpPr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BD85E882-EB5F-EAD2-50CA-440C6229CF7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620516" y="1963695"/>
              <a:ext cx="914400" cy="914400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97E88DAE-A5EB-F327-108C-A513DAD9C8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161603" y="1963695"/>
              <a:ext cx="914400" cy="914400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DA96960E-4A10-CB59-6D10-BAE65ECF9A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079429" y="1963695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2056648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975A3-9198-304B-67A9-D310EEF04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acher Notific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8E68E3-2C72-C881-6B45-44BBE55BD7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en will TEA notify designated teachers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7E8E62-B840-0BDE-5DCC-F196DF2518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1634" y="1362829"/>
            <a:ext cx="6589712" cy="5150684"/>
          </a:xfrm>
        </p:spPr>
        <p:txBody>
          <a:bodyPr/>
          <a:lstStyle/>
          <a:p>
            <a:r>
              <a:rPr lang="en-US" dirty="0"/>
              <a:t>On May 23, designated teachers will receive an email from </a:t>
            </a:r>
            <a:r>
              <a:rPr lang="en-US" dirty="0">
                <a:solidFill>
                  <a:schemeClr val="accent4"/>
                </a:solidFill>
              </a:rPr>
              <a:t>GovDelivery to their ECOS email address </a:t>
            </a:r>
            <a:r>
              <a:rPr lang="en-US" dirty="0">
                <a:solidFill>
                  <a:schemeClr val="tx1"/>
                </a:solidFill>
              </a:rPr>
              <a:t>with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Congratulatory remarks from Commissioner Mike Morath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Designation information and expiry da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State policies around future allotment eligibility and district spending require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/>
              <a:t>The amount generated for their LEA 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64417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B7B4808-8B9B-B465-F037-3D0A1E707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signated Teacher Registry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3EF26D2-1CFD-A87C-75E0-33361F7314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sz="2800">
                <a:hlinkClick r:id="rId3"/>
              </a:rPr>
              <a:t>Designated Teacher Registry</a:t>
            </a:r>
            <a:r>
              <a:rPr lang="en-US" sz="2800"/>
              <a:t> updates annually in late May</a:t>
            </a:r>
          </a:p>
          <a:p>
            <a:r>
              <a:rPr lang="en-US" sz="2800"/>
              <a:t>Designated teachers are assigned a designated teacher ID </a:t>
            </a:r>
          </a:p>
          <a:p>
            <a:r>
              <a:rPr lang="en-US" sz="2800"/>
              <a:t>Uncertified teachers can print a virtual certificate of designation through the Designated Teacher Registry</a:t>
            </a:r>
          </a:p>
          <a:p>
            <a:pPr marL="0" indent="0">
              <a:buNone/>
            </a:pPr>
            <a:endParaRPr lang="en-US"/>
          </a:p>
        </p:txBody>
      </p:sp>
      <p:pic>
        <p:nvPicPr>
          <p:cNvPr id="3" name="Picture 2" descr="Image of Designated Teacher Registry">
            <a:extLst>
              <a:ext uri="{FF2B5EF4-FFF2-40B4-BE49-F238E27FC236}">
                <a16:creationId xmlns:a16="http://schemas.microsoft.com/office/drawing/2014/main" id="{78236C71-A02F-3060-78FA-F2806362C6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828" y="3710836"/>
            <a:ext cx="9564450" cy="2580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94844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4AC05-2272-372D-C4B3-E4DFCF715C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piring Design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54775D-2446-F21B-6D0B-3EACCD7D14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What can we do for teachers with designations expiring* in 2024 or 2025?</a:t>
            </a:r>
          </a:p>
          <a:p>
            <a:endParaRPr lang="en-US"/>
          </a:p>
          <a:p>
            <a:endParaRPr lang="en-US"/>
          </a:p>
          <a:p>
            <a:r>
              <a:rPr lang="en-US" sz="1600" i="1"/>
              <a:t>*excluding NBC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4B2D1B-958B-73AA-7214-B7B94BB0A7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8128" y="1362075"/>
            <a:ext cx="6589712" cy="5150684"/>
          </a:xfrm>
        </p:spPr>
        <p:txBody>
          <a:bodyPr/>
          <a:lstStyle/>
          <a:p>
            <a:r>
              <a:rPr lang="en-US"/>
              <a:t>Districts with a local designation system should communicate their TIA timeline, eligible assignments and designation performance criteria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/>
              <a:t>Teachers who presently work in an eligible assignment may </a:t>
            </a:r>
            <a:r>
              <a:rPr lang="en-US" sz="2400" b="1" i="1">
                <a:solidFill>
                  <a:schemeClr val="accent4"/>
                </a:solidFill>
              </a:rPr>
              <a:t>requalify</a:t>
            </a:r>
            <a:r>
              <a:rPr lang="en-US" sz="2400"/>
              <a:t> for a new or higher designation in 2024-25 based on their performance in 2023-2024. 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/>
              <a:t>Teachers not working in an eligible assignment may wish to consider moving into an eligible assignment for 2024-25 to requalify in 2025-26 or later. </a:t>
            </a:r>
          </a:p>
        </p:txBody>
      </p:sp>
    </p:spTree>
    <p:extLst>
      <p:ext uri="{BB962C8B-B14F-4D97-AF65-F5344CB8AC3E}">
        <p14:creationId xmlns:p14="http://schemas.microsoft.com/office/powerpoint/2010/main" val="1338465341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97806-1610-48F9-A3CD-1959B3428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mediate Next Step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07C05F34-4F3D-4772-A310-6AECDBD902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7503134"/>
              </p:ext>
            </p:extLst>
          </p:nvPr>
        </p:nvGraphicFramePr>
        <p:xfrm>
          <a:off x="400050" y="1406149"/>
          <a:ext cx="11372850" cy="486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1700">
                  <a:extLst>
                    <a:ext uri="{9D8B030D-6E8A-4147-A177-3AD203B41FA5}">
                      <a16:colId xmlns:a16="http://schemas.microsoft.com/office/drawing/2014/main" val="3792880493"/>
                    </a:ext>
                  </a:extLst>
                </a:gridCol>
                <a:gridCol w="9201150">
                  <a:extLst>
                    <a:ext uri="{9D8B030D-6E8A-4147-A177-3AD203B41FA5}">
                      <a16:colId xmlns:a16="http://schemas.microsoft.com/office/drawing/2014/main" val="32468730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2400"/>
                        <a:t>Date/Dead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/>
                        <a:t>Action Ste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107865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Immediate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/>
                        <a:t>If needed, develop a TIA spending pl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3375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By May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Verify designations and allotments: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/>
                        <a:t>Create a district tracker for teachers with existing and pending designations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/>
                        <a:t>Verify teacher eligibility: employed by the LEA in a 087 Role ID for a creditable year of service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/>
                        <a:t>Verify campus(es) of employment for eligible teachers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/>
                        <a:t>Export designation and payout data from SCOMS and compare to district tracker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/>
                        <a:t>Submit disputes if needed</a:t>
                      </a:r>
                    </a:p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lang="en-US"/>
                        <a:t>Review attestations and obtain a local record with superintendent signat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53088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May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Attend allotment verification office hours, if need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58223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May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Deadline to confirm or dispute allo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20952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May 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/>
                        <a:t>Deadline to reconfirm allotment, if a dispute was submitted</a:t>
                      </a:r>
                      <a:endParaRPr lang="en-US" b="1" i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817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Before May 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mmunicate with designated teache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llotment generated for the distric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District spending plan and timeline for payou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23697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251057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97806-1610-48F9-A3CD-1959B34287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pcoming Dates for Awareness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07C05F34-4F3D-4772-A310-6AECDBD902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9436538"/>
              </p:ext>
            </p:extLst>
          </p:nvPr>
        </p:nvGraphicFramePr>
        <p:xfrm>
          <a:off x="400050" y="1538288"/>
          <a:ext cx="11372850" cy="41347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1700">
                  <a:extLst>
                    <a:ext uri="{9D8B030D-6E8A-4147-A177-3AD203B41FA5}">
                      <a16:colId xmlns:a16="http://schemas.microsoft.com/office/drawing/2014/main" val="3792880493"/>
                    </a:ext>
                  </a:extLst>
                </a:gridCol>
                <a:gridCol w="9201150">
                  <a:extLst>
                    <a:ext uri="{9D8B030D-6E8A-4147-A177-3AD203B41FA5}">
                      <a16:colId xmlns:a16="http://schemas.microsoft.com/office/drawing/2014/main" val="3246873022"/>
                    </a:ext>
                  </a:extLst>
                </a:gridCol>
              </a:tblGrid>
              <a:tr h="480161">
                <a:tc>
                  <a:txBody>
                    <a:bodyPr/>
                    <a:lstStyle/>
                    <a:p>
                      <a:r>
                        <a:rPr lang="en-US" sz="2400"/>
                        <a:t>Date/Dead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/>
                        <a:t>Action Ste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1078656"/>
                  </a:ext>
                </a:extLst>
              </a:tr>
              <a:tr h="1632549">
                <a:tc>
                  <a:txBody>
                    <a:bodyPr/>
                    <a:lstStyle/>
                    <a:p>
                      <a:r>
                        <a:rPr lang="en-US" sz="1600"/>
                        <a:t>May 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Public Designated Teacher search available with virtual certificate of designation</a:t>
                      </a:r>
                    </a:p>
                    <a:p>
                      <a:r>
                        <a:rPr lang="en-US" sz="1600"/>
                        <a:t>TEA notifies designated teachers who generated an allotment via ECOS email address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Name and Designated Teacher I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District and Campus(es) of employ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Amount generated for the LE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Statutory spending requirement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5822334"/>
                  </a:ext>
                </a:extLst>
              </a:tr>
              <a:tr h="1632549">
                <a:tc>
                  <a:txBody>
                    <a:bodyPr/>
                    <a:lstStyle/>
                    <a:p>
                      <a:r>
                        <a:rPr lang="en-US" sz="1600"/>
                        <a:t>August 31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/>
                        <a:t>Deadline to spend 2023-24 allot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90% or more must be spent on teacher compensation on the campus where the designated teacher works/work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Up to 10% may be withheld by the district for costs directly associated with TIA or supporting teachers in earning designat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/>
                        <a:t>Spending resources, FAQ, and best practices in Google Dr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2095226"/>
                  </a:ext>
                </a:extLst>
              </a:tr>
              <a:tr h="389464">
                <a:tc>
                  <a:txBody>
                    <a:bodyPr/>
                    <a:lstStyle/>
                    <a:p>
                      <a:r>
                        <a:rPr lang="en-US" sz="1600"/>
                        <a:t>September 2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23-24 allotment reflected in SOF re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58178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9253955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How would you customize the Implementation Calendar for your district?">
            <a:extLst>
              <a:ext uri="{FF2B5EF4-FFF2-40B4-BE49-F238E27FC236}">
                <a16:creationId xmlns:a16="http://schemas.microsoft.com/office/drawing/2014/main" id="{6A7CB624-111B-1F5B-0D44-A14EA3DC97A3}"/>
              </a:ext>
            </a:extLst>
          </p:cNvPr>
          <p:cNvSpPr/>
          <p:nvPr/>
        </p:nvSpPr>
        <p:spPr>
          <a:xfrm>
            <a:off x="0" y="0"/>
            <a:ext cx="4105563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6201558-9A48-7F4B-0A69-A3C28A277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278467"/>
            <a:ext cx="3972232" cy="6248942"/>
          </a:xfrm>
        </p:spPr>
        <p:txBody>
          <a:bodyPr/>
          <a:lstStyle/>
          <a:p>
            <a:pPr algn="ctr"/>
            <a:r>
              <a:rPr lang="en-US" sz="3200">
                <a:ea typeface="Cambria"/>
              </a:rPr>
              <a:t>Please enter questions in the Q&amp;A feature</a:t>
            </a:r>
            <a:endParaRPr lang="en-US" sz="2800">
              <a:ea typeface="Cambria"/>
            </a:endParaRPr>
          </a:p>
        </p:txBody>
      </p:sp>
      <p:pic>
        <p:nvPicPr>
          <p:cNvPr id="6" name="Picture 5" descr="A close-up of several paper notes with a pen">
            <a:extLst>
              <a:ext uri="{FF2B5EF4-FFF2-40B4-BE49-F238E27FC236}">
                <a16:creationId xmlns:a16="http://schemas.microsoft.com/office/drawing/2014/main" id="{D0653AE0-6764-D65F-6D69-4CAF5C1219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05563" y="1"/>
            <a:ext cx="80864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93120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02AB0E-77F6-AC4F-821E-A5ACE8B61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rvey</a:t>
            </a:r>
          </a:p>
        </p:txBody>
      </p:sp>
    </p:spTree>
    <p:extLst>
      <p:ext uri="{BB962C8B-B14F-4D97-AF65-F5344CB8AC3E}">
        <p14:creationId xmlns:p14="http://schemas.microsoft.com/office/powerpoint/2010/main" val="163210383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504AAA-85EF-42D7-B9BB-434EF89B28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929767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876384-A1CF-082F-B5E2-18647A4A3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ow Teachers Earn Designa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6F3B44-14F2-97CB-3602-3E683A3BBDB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Local Designation System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FF0902B-D51E-1748-A07A-287860355AB2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/>
              <a:t>District-created system requiring TEA approval ​</a:t>
            </a:r>
          </a:p>
          <a:p>
            <a:r>
              <a:rPr lang="en-US"/>
              <a:t>District determines and issues teacher designations</a:t>
            </a:r>
          </a:p>
          <a:p>
            <a:r>
              <a:rPr lang="en-US"/>
              <a:t>Designations valid for 5 years</a:t>
            </a:r>
          </a:p>
        </p:txBody>
      </p:sp>
      <p:pic>
        <p:nvPicPr>
          <p:cNvPr id="8" name="Picture 7" descr="TIA Recognized badge">
            <a:extLst>
              <a:ext uri="{FF2B5EF4-FFF2-40B4-BE49-F238E27FC236}">
                <a16:creationId xmlns:a16="http://schemas.microsoft.com/office/drawing/2014/main" id="{467B2F80-53E9-8396-BC85-4D43A87499A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587" y="4893898"/>
            <a:ext cx="1058781" cy="1058781"/>
          </a:xfrm>
          <a:prstGeom prst="rect">
            <a:avLst/>
          </a:prstGeom>
        </p:spPr>
      </p:pic>
      <p:pic>
        <p:nvPicPr>
          <p:cNvPr id="10" name="Picture 9" descr="TIA Exemplary badge">
            <a:extLst>
              <a:ext uri="{FF2B5EF4-FFF2-40B4-BE49-F238E27FC236}">
                <a16:creationId xmlns:a16="http://schemas.microsoft.com/office/drawing/2014/main" id="{9D2F4CBC-A8CB-FC22-9755-C7156FFC5B3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720" y="4906135"/>
            <a:ext cx="1061867" cy="1061867"/>
          </a:xfrm>
          <a:prstGeom prst="rect">
            <a:avLst/>
          </a:prstGeom>
        </p:spPr>
      </p:pic>
      <p:pic>
        <p:nvPicPr>
          <p:cNvPr id="9" name="Picture 8" descr="TIA Master badge">
            <a:extLst>
              <a:ext uri="{FF2B5EF4-FFF2-40B4-BE49-F238E27FC236}">
                <a16:creationId xmlns:a16="http://schemas.microsoft.com/office/drawing/2014/main" id="{A6CDF616-647F-7F78-4395-93C27533D91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9939" y="4893898"/>
            <a:ext cx="1061867" cy="1061867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5C3574A-131A-8094-480C-396C49CA50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/>
              <a:t>National Board Certification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8273664-0729-4370-6C03-4ACA6A16F265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r>
              <a:rPr lang="en-US"/>
              <a:t>Individual teacher achieves National Board Certification​</a:t>
            </a:r>
          </a:p>
          <a:p>
            <a:r>
              <a:rPr lang="en-US"/>
              <a:t>Designation valid through July following NBCT certificate expiry</a:t>
            </a:r>
          </a:p>
        </p:txBody>
      </p:sp>
      <p:pic>
        <p:nvPicPr>
          <p:cNvPr id="11" name="Picture 10" descr="TIA Recognized badge">
            <a:extLst>
              <a:ext uri="{FF2B5EF4-FFF2-40B4-BE49-F238E27FC236}">
                <a16:creationId xmlns:a16="http://schemas.microsoft.com/office/drawing/2014/main" id="{44C3631B-C86A-4E18-3843-BB68A2D8720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7544" y="4909221"/>
            <a:ext cx="1058781" cy="1058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0498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434EBC-BAED-3FF8-B5B3-3928BAC85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nding for Teach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DAFF4E-E9CE-AE12-DA1F-C8DFC4D122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9394" y="1538189"/>
            <a:ext cx="11204778" cy="695684"/>
          </a:xfrm>
        </p:spPr>
        <p:txBody>
          <a:bodyPr lIns="274320" rIns="182880">
            <a:normAutofit lnSpcReduction="10000"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000"/>
              <a:t>The </a:t>
            </a:r>
            <a:r>
              <a:rPr lang="en-US" sz="2000" b="1"/>
              <a:t>Teacher Incentive Allotment </a:t>
            </a:r>
            <a:r>
              <a:rPr lang="en-US" sz="2000"/>
              <a:t>provides extra funding, from </a:t>
            </a:r>
            <a:r>
              <a:rPr lang="en-US" sz="2000" b="1">
                <a:solidFill>
                  <a:schemeClr val="accent1"/>
                </a:solidFill>
              </a:rPr>
              <a:t>$3,000 - $32,000 </a:t>
            </a:r>
            <a:r>
              <a:rPr lang="en-US" sz="2000"/>
              <a:t>per designated teacher per year, with more money for </a:t>
            </a:r>
            <a:r>
              <a:rPr lang="en-US" sz="2000" b="1"/>
              <a:t>high needs </a:t>
            </a:r>
            <a:r>
              <a:rPr lang="en-US" sz="2000"/>
              <a:t>and </a:t>
            </a:r>
            <a:r>
              <a:rPr lang="en-US" sz="2000" b="1"/>
              <a:t>rural </a:t>
            </a:r>
            <a:r>
              <a:rPr lang="en-US" sz="2000"/>
              <a:t>schools</a:t>
            </a:r>
            <a:r>
              <a:rPr lang="en-US" sz="2000" b="1"/>
              <a:t>​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5CF3879-EDDB-33D3-4C5F-9ABA21606B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36295" y="3055080"/>
            <a:ext cx="7243010" cy="50132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B247A6-1B56-7EAC-B5FF-3B95D4F6F1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36294" y="4264425"/>
            <a:ext cx="8771021" cy="5013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CFDC144-64AA-9A3A-9157-04DB23B6E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36294" y="5462316"/>
            <a:ext cx="10136605" cy="5013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TEA Recognized badge">
            <a:extLst>
              <a:ext uri="{FF2B5EF4-FFF2-40B4-BE49-F238E27FC236}">
                <a16:creationId xmlns:a16="http://schemas.microsoft.com/office/drawing/2014/main" id="{80D9CA55-FA23-E837-11DE-C0972544BC2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52" y="2611058"/>
            <a:ext cx="1058781" cy="105878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24488EE-8EA0-390B-6408-2A13576C1D5C}"/>
              </a:ext>
            </a:extLst>
          </p:cNvPr>
          <p:cNvSpPr txBox="1"/>
          <p:nvPr/>
        </p:nvSpPr>
        <p:spPr>
          <a:xfrm>
            <a:off x="1557272" y="2602570"/>
            <a:ext cx="3922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OGNIZED | $3 - $9K</a:t>
            </a:r>
          </a:p>
        </p:txBody>
      </p:sp>
      <p:pic>
        <p:nvPicPr>
          <p:cNvPr id="17" name="Picture 16" descr="TIA Exemplary badge">
            <a:extLst>
              <a:ext uri="{FF2B5EF4-FFF2-40B4-BE49-F238E27FC236}">
                <a16:creationId xmlns:a16="http://schemas.microsoft.com/office/drawing/2014/main" id="{1E05E7C4-F551-396D-E3C4-062B897A2F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266" y="3814423"/>
            <a:ext cx="1061867" cy="106186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CF3B323-2E66-80EF-71EF-EBBFAB1BFBBD}"/>
              </a:ext>
            </a:extLst>
          </p:cNvPr>
          <p:cNvSpPr txBox="1"/>
          <p:nvPr/>
        </p:nvSpPr>
        <p:spPr>
          <a:xfrm>
            <a:off x="1557272" y="3811262"/>
            <a:ext cx="3922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MPLARY | $6 - $18K</a:t>
            </a:r>
          </a:p>
        </p:txBody>
      </p:sp>
      <p:pic>
        <p:nvPicPr>
          <p:cNvPr id="15" name="Picture 14" descr="TIA Master badge">
            <a:extLst>
              <a:ext uri="{FF2B5EF4-FFF2-40B4-BE49-F238E27FC236}">
                <a16:creationId xmlns:a16="http://schemas.microsoft.com/office/drawing/2014/main" id="{8AF0BA9F-A77C-2DC2-D710-D342F2CAF81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265" y="5017788"/>
            <a:ext cx="1061867" cy="106186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0EB91EB-FE61-9993-90B1-F333BC016649}"/>
              </a:ext>
            </a:extLst>
          </p:cNvPr>
          <p:cNvSpPr txBox="1"/>
          <p:nvPr/>
        </p:nvSpPr>
        <p:spPr>
          <a:xfrm>
            <a:off x="1542132" y="5001801"/>
            <a:ext cx="3922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 | $12 - $32K</a:t>
            </a:r>
          </a:p>
        </p:txBody>
      </p:sp>
    </p:spTree>
    <p:extLst>
      <p:ext uri="{BB962C8B-B14F-4D97-AF65-F5344CB8AC3E}">
        <p14:creationId xmlns:p14="http://schemas.microsoft.com/office/powerpoint/2010/main" val="3556298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C98C48-F5A5-E309-FB22-BB05CD1F9C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ee Reimburs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088BC5-7082-B6E9-3C05-F3CD117FCD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TIA allows for collection and reimbursement of fees</a:t>
            </a:r>
          </a:p>
          <a:p>
            <a:r>
              <a:rPr lang="en-US"/>
              <a:t>Districts may receive fee reimbursement for:</a:t>
            </a:r>
          </a:p>
          <a:p>
            <a:pPr lvl="1"/>
            <a:r>
              <a:rPr lang="en-US"/>
              <a:t>Teacher Designation Fees (LEAs with a local designation system)</a:t>
            </a:r>
          </a:p>
          <a:p>
            <a:pPr lvl="1"/>
            <a:r>
              <a:rPr lang="en-US"/>
              <a:t>System Renewal Fees (LEAs with a local designation system)</a:t>
            </a:r>
          </a:p>
          <a:p>
            <a:pPr lvl="1"/>
            <a:r>
              <a:rPr lang="en-US"/>
              <a:t>National Board Certification Fees</a:t>
            </a:r>
          </a:p>
          <a:p>
            <a:pPr marL="914400" lvl="2" indent="0">
              <a:buNone/>
            </a:pPr>
            <a:endParaRPr lang="en-US">
              <a:cs typeface="Calibri"/>
            </a:endParaRPr>
          </a:p>
          <a:p>
            <a:r>
              <a:rPr lang="en-US"/>
              <a:t>No fees are required to maintain existing designations or receive allotment funds for employing designated teacher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9165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 Layout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ransition and Other Slide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ontent Layout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ontent Layout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Content Layout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Divider and Other Slide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Content Layout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Content Layouts">
  <a:themeElements>
    <a:clrScheme name="TIA">
      <a:dk1>
        <a:srgbClr val="000000"/>
      </a:dk1>
      <a:lt1>
        <a:sysClr val="window" lastClr="FFFFFF"/>
      </a:lt1>
      <a:dk2>
        <a:srgbClr val="363534"/>
      </a:dk2>
      <a:lt2>
        <a:srgbClr val="E7E3DB"/>
      </a:lt2>
      <a:accent1>
        <a:srgbClr val="00A69B"/>
      </a:accent1>
      <a:accent2>
        <a:srgbClr val="87C54A"/>
      </a:accent2>
      <a:accent3>
        <a:srgbClr val="F8CC2B"/>
      </a:accent3>
      <a:accent4>
        <a:srgbClr val="F16038"/>
      </a:accent4>
      <a:accent5>
        <a:srgbClr val="015692"/>
      </a:accent5>
      <a:accent6>
        <a:srgbClr val="E7E3DB"/>
      </a:accent6>
      <a:hlink>
        <a:srgbClr val="D0380E"/>
      </a:hlink>
      <a:folHlink>
        <a:srgbClr val="007C74"/>
      </a:folHlink>
    </a:clrScheme>
    <a:fontScheme name="Cambria-Calibri">
      <a:majorFont>
        <a:latin typeface="Cambria" panose="02040503050406030204"/>
        <a:ea typeface=""/>
        <a:cs typeface=""/>
        <a:font script="Jpan" typeface="ＭＳ Ｐゴシック"/>
        <a:font script="Hang" typeface="맑은 고딕"/>
        <a:font script="Hans" typeface="黑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ad0659-6a5d-4092-b991-df82805f26a4">
      <Terms xmlns="http://schemas.microsoft.com/office/infopath/2007/PartnerControls"/>
    </lcf76f155ced4ddcb4097134ff3c332f>
    <TaxCatchAll xmlns="7509388a-dc3d-42e0-ad02-1f88cc25c44c" xsi:nil="true"/>
    <PhotoTags xmlns="55ad0659-6a5d-4092-b991-df82805f26a4" xsi:nil="true"/>
    <Owner xmlns="55ad0659-6a5d-4092-b991-df82805f26a4" xsi:nil="true"/>
    <SharedWithUsers xmlns="4780d0d2-c080-455e-bee8-5b3382ef325a">
      <UserInfo>
        <DisplayName>LaBounty, Steven</DisplayName>
        <AccountId>4485</AccountId>
        <AccountType/>
      </UserInfo>
      <UserInfo>
        <DisplayName>Holzgrafe, Matthew</DisplayName>
        <AccountId>3630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B8CB2DC0153D0408D1CF651F2AD29DF" ma:contentTypeVersion="22" ma:contentTypeDescription="Create a new document." ma:contentTypeScope="" ma:versionID="677b3260a3539c05665bb89a7e7a54e1">
  <xsd:schema xmlns:xsd="http://www.w3.org/2001/XMLSchema" xmlns:xs="http://www.w3.org/2001/XMLSchema" xmlns:p="http://schemas.microsoft.com/office/2006/metadata/properties" xmlns:ns2="55ad0659-6a5d-4092-b991-df82805f26a4" xmlns:ns3="4780d0d2-c080-455e-bee8-5b3382ef325a" xmlns:ns4="7509388a-dc3d-42e0-ad02-1f88cc25c44c" targetNamespace="http://schemas.microsoft.com/office/2006/metadata/properties" ma:root="true" ma:fieldsID="e3793bb2f10c86784f115c9d827e7e41" ns2:_="" ns3:_="" ns4:_="">
    <xsd:import namespace="55ad0659-6a5d-4092-b991-df82805f26a4"/>
    <xsd:import namespace="4780d0d2-c080-455e-bee8-5b3382ef325a"/>
    <xsd:import namespace="7509388a-dc3d-42e0-ad02-1f88cc25c44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PhotoTags" minOccurs="0"/>
                <xsd:element ref="ns2:MediaLengthInSeconds" minOccurs="0"/>
                <xsd:element ref="ns4:TaxCatchAll" minOccurs="0"/>
                <xsd:element ref="ns2:lcf76f155ced4ddcb4097134ff3c332f" minOccurs="0"/>
                <xsd:element ref="ns2:Owne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ad0659-6a5d-4092-b991-df82805f26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PhotoTags" ma:index="20" nillable="true" ma:displayName="Photo Tags" ma:format="Dropdown" ma:internalName="PhotoTags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3b7a77b5-e59d-49f3-97a2-3dde868dbe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Owner" ma:index="25" nillable="true" ma:displayName="Owner" ma:description="Name of the person who owns the OP" ma:format="Dropdown" ma:internalName="Owner">
      <xsd:simpleType>
        <xsd:restriction base="dms:Text">
          <xsd:maxLength value="255"/>
        </xsd:restriction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80d0d2-c080-455e-bee8-5b3382ef325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09388a-dc3d-42e0-ad02-1f88cc25c44c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ddda7e6e-9532-4eac-be15-fb9b6964c0ff}" ma:internalName="TaxCatchAll" ma:showField="CatchAllData" ma:web="7509388a-dc3d-42e0-ad02-1f88cc25c44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F7D9E9C-584D-48B9-9C5A-615367A5FE2B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7509388a-dc3d-42e0-ad02-1f88cc25c44c"/>
    <ds:schemaRef ds:uri="http://purl.org/dc/elements/1.1/"/>
    <ds:schemaRef ds:uri="55ad0659-6a5d-4092-b991-df82805f26a4"/>
    <ds:schemaRef ds:uri="http://schemas.microsoft.com/office/2006/metadata/properties"/>
    <ds:schemaRef ds:uri="http://schemas.microsoft.com/office/infopath/2007/PartnerControls"/>
    <ds:schemaRef ds:uri="4780d0d2-c080-455e-bee8-5b3382ef325a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518127F-5F84-4F94-BAAB-8464D593DB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ad0659-6a5d-4092-b991-df82805f26a4"/>
    <ds:schemaRef ds:uri="4780d0d2-c080-455e-bee8-5b3382ef325a"/>
    <ds:schemaRef ds:uri="7509388a-dc3d-42e0-ad02-1f88cc25c44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B15ED22-2D49-47B0-BD30-6908D13988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65</Words>
  <Application>Microsoft Office PowerPoint</Application>
  <PresentationFormat>Widescreen</PresentationFormat>
  <Paragraphs>675</Paragraphs>
  <Slides>67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82" baseType="lpstr">
      <vt:lpstr>Arial</vt:lpstr>
      <vt:lpstr>Calibri</vt:lpstr>
      <vt:lpstr>Cambria</vt:lpstr>
      <vt:lpstr>Symbol</vt:lpstr>
      <vt:lpstr>Wingdings</vt:lpstr>
      <vt:lpstr>Title Slides</vt:lpstr>
      <vt:lpstr>Content Layouts</vt:lpstr>
      <vt:lpstr>Transition and Other Slides</vt:lpstr>
      <vt:lpstr>1_Content Layouts</vt:lpstr>
      <vt:lpstr>2_Content Layouts</vt:lpstr>
      <vt:lpstr>3_Content Layouts</vt:lpstr>
      <vt:lpstr>Divider and Other Slides</vt:lpstr>
      <vt:lpstr>4_Content Layouts</vt:lpstr>
      <vt:lpstr>5_Content Layouts</vt:lpstr>
      <vt:lpstr>think-cell Slide</vt:lpstr>
      <vt:lpstr>Verifying and Confirming 2023-24 Allotments</vt:lpstr>
      <vt:lpstr>Audience Note</vt:lpstr>
      <vt:lpstr>Office Hours and Session Resources</vt:lpstr>
      <vt:lpstr>Additional Resources</vt:lpstr>
      <vt:lpstr>Session Objectives</vt:lpstr>
      <vt:lpstr>TIA Basics</vt:lpstr>
      <vt:lpstr>How Teachers Earn Designations</vt:lpstr>
      <vt:lpstr>Funding for Teachers</vt:lpstr>
      <vt:lpstr>Fee Reimbursements</vt:lpstr>
      <vt:lpstr>Interactive Funding Map</vt:lpstr>
      <vt:lpstr>Allotment Funding Distribution</vt:lpstr>
      <vt:lpstr>FAQ: Funding</vt:lpstr>
      <vt:lpstr>Allotment Basics</vt:lpstr>
      <vt:lpstr>2023-24 Designations and Allotments</vt:lpstr>
      <vt:lpstr>Designation and Allotment Eligibility</vt:lpstr>
      <vt:lpstr>Creditable Year of Service</vt:lpstr>
      <vt:lpstr>TEA Administrative Discretion</vt:lpstr>
      <vt:lpstr>Designations and Allotment Timeline</vt:lpstr>
      <vt:lpstr>Designated Teacher Movement</vt:lpstr>
      <vt:lpstr>Teacher Movement</vt:lpstr>
      <vt:lpstr>Introduction to SCOMS</vt:lpstr>
      <vt:lpstr>SCOMS Resources</vt:lpstr>
      <vt:lpstr>SCOMS Overview</vt:lpstr>
      <vt:lpstr>Requesting SCOMS Access</vt:lpstr>
      <vt:lpstr>Who Needs SCOMS Access</vt:lpstr>
      <vt:lpstr>SCOMS for TEA Users</vt:lpstr>
      <vt:lpstr>Home Page</vt:lpstr>
      <vt:lpstr>LEA Details</vt:lpstr>
      <vt:lpstr>Designations Page</vt:lpstr>
      <vt:lpstr>Payout Page</vt:lpstr>
      <vt:lpstr>Verifying and Confirming Allotments</vt:lpstr>
      <vt:lpstr>Pre-Work: Confirm Eligible Teachers</vt:lpstr>
      <vt:lpstr>Sample District-Created Tracking Document</vt:lpstr>
      <vt:lpstr>Review Designation Outcomes</vt:lpstr>
      <vt:lpstr>Review Allotments by Teacher</vt:lpstr>
      <vt:lpstr>Teachers Serving on Multiple Campuses</vt:lpstr>
      <vt:lpstr>Verifying Allotments</vt:lpstr>
      <vt:lpstr>Sample Tracking Document with Dispute Notes</vt:lpstr>
      <vt:lpstr>Verify Fee Reimbursements If Applicable</vt:lpstr>
      <vt:lpstr>View Fee Details</vt:lpstr>
      <vt:lpstr>Submitting Disputes</vt:lpstr>
      <vt:lpstr>What are Disputes?</vt:lpstr>
      <vt:lpstr>When to Submit a Dispute</vt:lpstr>
      <vt:lpstr>Disputes Page and Managing Disputes</vt:lpstr>
      <vt:lpstr>Dispute Categories</vt:lpstr>
      <vt:lpstr>Adding a Dispute</vt:lpstr>
      <vt:lpstr>Sample Dispute</vt:lpstr>
      <vt:lpstr>Required Information for a Dispute</vt:lpstr>
      <vt:lpstr>Next Steps After a Dispute</vt:lpstr>
      <vt:lpstr>Sample Disputes Page</vt:lpstr>
      <vt:lpstr>Confirming the Allotment</vt:lpstr>
      <vt:lpstr>Prior to Confirmation</vt:lpstr>
      <vt:lpstr>Confirm the Allotment</vt:lpstr>
      <vt:lpstr>District Next Steps</vt:lpstr>
      <vt:lpstr>Next Steps Overview</vt:lpstr>
      <vt:lpstr>Summary of Finances (SOF) Report</vt:lpstr>
      <vt:lpstr>Spending Plan FAQ </vt:lpstr>
      <vt:lpstr>Teacher Communication</vt:lpstr>
      <vt:lpstr>Spotlight on Designated Teachers</vt:lpstr>
      <vt:lpstr>Teacher Notifications</vt:lpstr>
      <vt:lpstr>Designated Teacher Registry</vt:lpstr>
      <vt:lpstr>Expiring Designations</vt:lpstr>
      <vt:lpstr>Immediate Next Steps</vt:lpstr>
      <vt:lpstr>Upcoming Dates for Awareness</vt:lpstr>
      <vt:lpstr>Please enter questions in the Q&amp;A feature</vt:lpstr>
      <vt:lpstr>Survey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4-23T16:47:06Z</dcterms:created>
  <dcterms:modified xsi:type="dcterms:W3CDTF">2024-04-30T17:5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1B8CB2DC0153D0408D1CF651F2AD29DF</vt:lpwstr>
  </property>
</Properties>
</file>